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3"/>
  </p:notesMasterIdLst>
  <p:handoutMasterIdLst>
    <p:handoutMasterId r:id="rId14"/>
  </p:handoutMasterIdLst>
  <p:sldIdLst>
    <p:sldId id="2147377434" r:id="rId5"/>
    <p:sldId id="2147377425" r:id="rId6"/>
    <p:sldId id="2147377412" r:id="rId7"/>
    <p:sldId id="2147377433" r:id="rId8"/>
    <p:sldId id="2147377423" r:id="rId9"/>
    <p:sldId id="2147377431" r:id="rId10"/>
    <p:sldId id="2147377422" r:id="rId11"/>
    <p:sldId id="2147377389" r:id="rId12"/>
  </p:sldIdLst>
  <p:sldSz cx="12198350" cy="6858000"/>
  <p:notesSz cx="6858000" cy="9144000"/>
  <p:custDataLst>
    <p:tags r:id="rId15"/>
  </p:custDataLst>
  <p:defaultTextStyle>
    <a:defPPr rtl="0"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or" initials="M" userId="Author" providerId="AD"/>
  <p188:author id="{DC80A51C-A2EE-94FE-6DC9-FB4D615A9D0D}" name="Gastbenutzer" initials="Ga" userId="S::urn:spo:anon#c1c7deccded2dbae37f59659df8a1d1dc8834aa7b157d25386c5b6c6c78944cb::" providerId="AD"/>
  <p188:author id="{1A9EB531-1073-46D4-A266-E39953509C9F}" name="Gastbenutzer" initials="Ga" userId="S::urn:spo:anon#db54c4650be3282601b98667e2696afce53f5179360cdedf7162d9f91a6461f6::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3" name="Autor" initials="A" lastIdx="35" clrIdx="1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9FDF"/>
    <a:srgbClr val="565656"/>
    <a:srgbClr val="000000"/>
    <a:srgbClr val="D4E5BB"/>
    <a:srgbClr val="BEC2CD"/>
    <a:srgbClr val="CAD7E3"/>
    <a:srgbClr val="48762C"/>
    <a:srgbClr val="32521E"/>
    <a:srgbClr val="D1DF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7B5EAE8-3D48-2D73-C9FA-A2291B2715C8}" v="105" dt="2023-11-06T15:58:35.879"/>
    <p1510:client id="{9D1BC172-0EAD-6968-C181-436101082AB7}" v="35" dt="2023-11-06T07:54:29.632"/>
    <p1510:client id="{3B201212-8717-4CA6-AFFE-B85CC845040B}" v="27" dt="2023-11-06T10:57:57.114"/>
  </p1510:revLst>
</p1510:revInfo>
</file>

<file path=ppt/tableStyles.xml><?xml version="1.0" encoding="utf-8"?>
<a:tblStyleLst xmlns:a="http://schemas.openxmlformats.org/drawingml/2006/main" def="{5DA37D80-6434-44D0-A028-1B22A696006F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526"/>
    <p:restoredTop sz="94652"/>
  </p:normalViewPr>
  <p:slideViewPr>
    <p:cSldViewPr snapToGrid="0">
      <p:cViewPr varScale="1">
        <p:scale>
          <a:sx n="133" d="100"/>
          <a:sy n="133" d="100"/>
        </p:scale>
        <p:origin x="56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Relationship Id="rId22" Type="http://schemas.microsoft.com/office/2018/10/relationships/authors" Target="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9BE0EB3F-0824-4CAB-8FAD-A38336B658C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rtl="0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A0017BE-1D52-4CD5-AE00-A5C83B6AF07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rtl="0"/>
            <a:fld id="{E24FF582-27E0-4C6D-81F0-64140543C51C}" type="datetimeFigureOut">
              <a:rPr lang="de-DE" smtClean="0"/>
              <a:t>06.02.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069B6E8-D112-4533-B534-EBB27CDDAB4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rtl="0"/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9FE24B1-30D7-4087-92DF-8FD55E81FC3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rtl="0"/>
            <a:fld id="{29CCB011-1079-496D-AA0E-A31E25E65FB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970648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rtl="0"/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11480" y="4343400"/>
            <a:ext cx="603504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 rtl="0"/>
            <a:r>
              <a:rPr lang="sv"/>
              <a:t>Textmasterformat bearbeiten</a:t>
            </a:r>
          </a:p>
          <a:p>
            <a:pPr lvl="1" rtl="0"/>
            <a:r>
              <a:rPr lang="sv"/>
              <a:t>Zweite Ebene</a:t>
            </a:r>
          </a:p>
          <a:p>
            <a:pPr lvl="2" rtl="0"/>
            <a:r>
              <a:rPr lang="sv"/>
              <a:t>Dritte Ebene</a:t>
            </a:r>
          </a:p>
          <a:p>
            <a:pPr lvl="3" rtl="0"/>
            <a:r>
              <a:rPr lang="sv"/>
              <a:t>Vierte Ebene</a:t>
            </a:r>
          </a:p>
          <a:p>
            <a:pPr lvl="4" rtl="0"/>
            <a:r>
              <a:rPr lang="sv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7272724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180975" indent="-180975" algn="l" defTabSz="914400" rtl="0" eaLnBrk="1" latinLnBrk="0" hangingPunct="1">
      <a:buClr>
        <a:srgbClr val="00A5E4"/>
      </a:buClr>
      <a:buSzPct val="100000"/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7800" algn="l" defTabSz="914400" rtl="0" eaLnBrk="1" latinLnBrk="0" hangingPunct="1">
      <a:buClr>
        <a:srgbClr val="00A5E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39750" indent="-180975" algn="l" defTabSz="914400" rtl="0" eaLnBrk="1" latinLnBrk="0" hangingPunct="1">
      <a:buClr>
        <a:srgbClr val="00A5E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7550" indent="-177800" algn="l" defTabSz="914400" rtl="0" eaLnBrk="1" latinLnBrk="0" hangingPunct="1">
      <a:buClr>
        <a:srgbClr val="00A5E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0975" algn="l" defTabSz="914400" rtl="0" eaLnBrk="1" latinLnBrk="0" hangingPunct="1">
      <a:buClr>
        <a:srgbClr val="00A5E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NULL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NULL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NULL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NULL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NULL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NULL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NUL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NUL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35.vml"/><Relationship Id="rId6" Type="http://schemas.openxmlformats.org/officeDocument/2006/relationships/image" Target="NULL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36.vml"/><Relationship Id="rId6" Type="http://schemas.openxmlformats.org/officeDocument/2006/relationships/image" Target="NULL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37.vml"/><Relationship Id="rId6" Type="http://schemas.openxmlformats.org/officeDocument/2006/relationships/image" Target="NULL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vmlDrawing" Target="../drawings/vmlDrawing38.vml"/><Relationship Id="rId6" Type="http://schemas.openxmlformats.org/officeDocument/2006/relationships/image" Target="NULL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39.vml"/><Relationship Id="rId6" Type="http://schemas.openxmlformats.org/officeDocument/2006/relationships/image" Target="NULL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81.xml"/><Relationship Id="rId7" Type="http://schemas.openxmlformats.org/officeDocument/2006/relationships/image" Target="../media/image3.png"/><Relationship Id="rId2" Type="http://schemas.openxmlformats.org/officeDocument/2006/relationships/tags" Target="../tags/tag80.xml"/><Relationship Id="rId1" Type="http://schemas.openxmlformats.org/officeDocument/2006/relationships/vmlDrawing" Target="../drawings/vmlDrawing40.vml"/><Relationship Id="rId6" Type="http://schemas.openxmlformats.org/officeDocument/2006/relationships/image" Target="NULL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NULL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83.xml"/><Relationship Id="rId7" Type="http://schemas.openxmlformats.org/officeDocument/2006/relationships/image" Target="../media/image3.png"/><Relationship Id="rId2" Type="http://schemas.openxmlformats.org/officeDocument/2006/relationships/tags" Target="../tags/tag82.xml"/><Relationship Id="rId1" Type="http://schemas.openxmlformats.org/officeDocument/2006/relationships/vmlDrawing" Target="../drawings/vmlDrawing41.vml"/><Relationship Id="rId6" Type="http://schemas.openxmlformats.org/officeDocument/2006/relationships/image" Target="NULL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85.xml"/><Relationship Id="rId7" Type="http://schemas.openxmlformats.org/officeDocument/2006/relationships/image" Target="../media/image3.png"/><Relationship Id="rId2" Type="http://schemas.openxmlformats.org/officeDocument/2006/relationships/tags" Target="../tags/tag84.xml"/><Relationship Id="rId1" Type="http://schemas.openxmlformats.org/officeDocument/2006/relationships/vmlDrawing" Target="../drawings/vmlDrawing42.vml"/><Relationship Id="rId6" Type="http://schemas.openxmlformats.org/officeDocument/2006/relationships/image" Target="NULL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vmlDrawing" Target="../drawings/vmlDrawing43.vml"/><Relationship Id="rId6" Type="http://schemas.openxmlformats.org/officeDocument/2006/relationships/image" Target="NULL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89.xml"/><Relationship Id="rId7" Type="http://schemas.openxmlformats.org/officeDocument/2006/relationships/image" Target="../media/image3.png"/><Relationship Id="rId2" Type="http://schemas.openxmlformats.org/officeDocument/2006/relationships/tags" Target="../tags/tag88.xml"/><Relationship Id="rId1" Type="http://schemas.openxmlformats.org/officeDocument/2006/relationships/vmlDrawing" Target="../drawings/vmlDrawing44.vml"/><Relationship Id="rId6" Type="http://schemas.openxmlformats.org/officeDocument/2006/relationships/image" Target="NULL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91.xml"/><Relationship Id="rId7" Type="http://schemas.openxmlformats.org/officeDocument/2006/relationships/image" Target="../media/image3.png"/><Relationship Id="rId2" Type="http://schemas.openxmlformats.org/officeDocument/2006/relationships/tags" Target="../tags/tag90.xml"/><Relationship Id="rId1" Type="http://schemas.openxmlformats.org/officeDocument/2006/relationships/vmlDrawing" Target="../drawings/vmlDrawing45.vml"/><Relationship Id="rId6" Type="http://schemas.openxmlformats.org/officeDocument/2006/relationships/image" Target="NULL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93.xml"/><Relationship Id="rId7" Type="http://schemas.openxmlformats.org/officeDocument/2006/relationships/image" Target="../media/image3.png"/><Relationship Id="rId2" Type="http://schemas.openxmlformats.org/officeDocument/2006/relationships/tags" Target="../tags/tag92.xml"/><Relationship Id="rId1" Type="http://schemas.openxmlformats.org/officeDocument/2006/relationships/vmlDrawing" Target="../drawings/vmlDrawing46.vml"/><Relationship Id="rId6" Type="http://schemas.openxmlformats.org/officeDocument/2006/relationships/image" Target="NULL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95.xml"/><Relationship Id="rId7" Type="http://schemas.openxmlformats.org/officeDocument/2006/relationships/image" Target="../media/image3.png"/><Relationship Id="rId2" Type="http://schemas.openxmlformats.org/officeDocument/2006/relationships/tags" Target="../tags/tag94.xml"/><Relationship Id="rId1" Type="http://schemas.openxmlformats.org/officeDocument/2006/relationships/vmlDrawing" Target="../drawings/vmlDrawing47.vml"/><Relationship Id="rId6" Type="http://schemas.openxmlformats.org/officeDocument/2006/relationships/image" Target="NULL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97.xml"/><Relationship Id="rId7" Type="http://schemas.openxmlformats.org/officeDocument/2006/relationships/image" Target="../media/image3.png"/><Relationship Id="rId2" Type="http://schemas.openxmlformats.org/officeDocument/2006/relationships/tags" Target="../tags/tag96.xml"/><Relationship Id="rId1" Type="http://schemas.openxmlformats.org/officeDocument/2006/relationships/vmlDrawing" Target="../drawings/vmlDrawing48.vml"/><Relationship Id="rId6" Type="http://schemas.openxmlformats.org/officeDocument/2006/relationships/image" Target="NULL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49.vml"/><Relationship Id="rId6" Type="http://schemas.openxmlformats.org/officeDocument/2006/relationships/image" Target="NULL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101.xml"/><Relationship Id="rId7" Type="http://schemas.openxmlformats.org/officeDocument/2006/relationships/image" Target="../media/image3.png"/><Relationship Id="rId2" Type="http://schemas.openxmlformats.org/officeDocument/2006/relationships/tags" Target="../tags/tag100.xml"/><Relationship Id="rId1" Type="http://schemas.openxmlformats.org/officeDocument/2006/relationships/vmlDrawing" Target="../drawings/vmlDrawing50.vml"/><Relationship Id="rId6" Type="http://schemas.openxmlformats.org/officeDocument/2006/relationships/image" Target="NULL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NUL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103.xml"/><Relationship Id="rId7" Type="http://schemas.openxmlformats.org/officeDocument/2006/relationships/image" Target="../media/image3.png"/><Relationship Id="rId2" Type="http://schemas.openxmlformats.org/officeDocument/2006/relationships/tags" Target="../tags/tag102.xml"/><Relationship Id="rId1" Type="http://schemas.openxmlformats.org/officeDocument/2006/relationships/vmlDrawing" Target="../drawings/vmlDrawing51.vml"/><Relationship Id="rId6" Type="http://schemas.openxmlformats.org/officeDocument/2006/relationships/image" Target="NULL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52.vml"/><Relationship Id="rId6" Type="http://schemas.openxmlformats.org/officeDocument/2006/relationships/image" Target="NULL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53.vml"/><Relationship Id="rId6" Type="http://schemas.openxmlformats.org/officeDocument/2006/relationships/image" Target="NULL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54.vml"/><Relationship Id="rId6" Type="http://schemas.openxmlformats.org/officeDocument/2006/relationships/image" Target="NULL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hyperlink" Target="https://de.pinterest.com/tesaDIY" TargetMode="External"/><Relationship Id="rId3" Type="http://schemas.openxmlformats.org/officeDocument/2006/relationships/tags" Target="../tags/tag111.xml"/><Relationship Id="rId7" Type="http://schemas.openxmlformats.org/officeDocument/2006/relationships/hyperlink" Target="http://www.tesa.com/" TargetMode="External"/><Relationship Id="rId12" Type="http://schemas.openxmlformats.org/officeDocument/2006/relationships/hyperlink" Target="https://www.linkedin.com/company/tesa" TargetMode="External"/><Relationship Id="rId2" Type="http://schemas.openxmlformats.org/officeDocument/2006/relationships/tags" Target="../tags/tag110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11" Type="http://schemas.openxmlformats.org/officeDocument/2006/relationships/hyperlink" Target="https://www.youtube.com/channel/UCxE8yjhhxL95tfua3bAH6yg" TargetMode="External"/><Relationship Id="rId5" Type="http://schemas.openxmlformats.org/officeDocument/2006/relationships/oleObject" Target="../embeddings/oleObject55.bin"/><Relationship Id="rId10" Type="http://schemas.openxmlformats.org/officeDocument/2006/relationships/hyperlink" Target="https://twitter.com/tesa_press" TargetMode="External"/><Relationship Id="rId4" Type="http://schemas.openxmlformats.org/officeDocument/2006/relationships/slideMaster" Target="../slideMasters/slideMaster1.xml"/><Relationship Id="rId9" Type="http://schemas.openxmlformats.org/officeDocument/2006/relationships/hyperlink" Target="https://www.facebook.com/tesa.international" TargetMode="Externa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inkedin.com/company/tesa" TargetMode="External"/><Relationship Id="rId3" Type="http://schemas.openxmlformats.org/officeDocument/2006/relationships/tags" Target="../tags/tag113.xml"/><Relationship Id="rId7" Type="http://schemas.openxmlformats.org/officeDocument/2006/relationships/hyperlink" Target="http://www.tesa.cn/" TargetMode="External"/><Relationship Id="rId2" Type="http://schemas.openxmlformats.org/officeDocument/2006/relationships/tags" Target="../tags/tag112.xml"/><Relationship Id="rId1" Type="http://schemas.openxmlformats.org/officeDocument/2006/relationships/vmlDrawing" Target="../drawings/vmlDrawing56.vml"/><Relationship Id="rId6" Type="http://schemas.openxmlformats.org/officeDocument/2006/relationships/image" Target="NULL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57.vml"/><Relationship Id="rId6" Type="http://schemas.openxmlformats.org/officeDocument/2006/relationships/image" Target="NULL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7" Type="http://schemas.openxmlformats.org/officeDocument/2006/relationships/image" Target="../media/image5.png"/><Relationship Id="rId2" Type="http://schemas.openxmlformats.org/officeDocument/2006/relationships/tags" Target="../tags/tag116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NUL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NUL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NULL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aped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73970594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3FD47ED-D33F-5C49-3048-C9AC454A48F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215479 w 12198350"/>
              <a:gd name="connsiteY0" fmla="*/ 263197 h 6354763"/>
              <a:gd name="connsiteX1" fmla="*/ 10215479 w 12198350"/>
              <a:gd name="connsiteY1" fmla="*/ 792687 h 6354763"/>
              <a:gd name="connsiteX2" fmla="*/ 11933140 w 12198350"/>
              <a:gd name="connsiteY2" fmla="*/ 792687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sv"/>
              <a:t>Please insert an image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5884669"/>
            <a:ext cx="11414027" cy="246221"/>
          </a:xfrm>
        </p:spPr>
        <p:txBody>
          <a:bodyPr rtlCol="0">
            <a:noAutofit/>
          </a:bodyPr>
          <a:lstStyle>
            <a:lvl1pPr marL="0" indent="0" rtl="0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sv"/>
              <a:t>Subheading, Arial Regular 16 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5053420"/>
            <a:ext cx="8385217" cy="599001"/>
          </a:xfrm>
          <a:solidFill>
            <a:schemeClr val="accent5"/>
          </a:solidFill>
        </p:spPr>
        <p:txBody>
          <a:bodyPr wrap="none" lIns="108000" tIns="36000" rIns="108000" bIns="36000" rtlCol="0" anchor="b">
            <a:spAutoFit/>
          </a:bodyPr>
          <a:lstStyle>
            <a:lvl1pPr marL="0" indent="0" rtl="0">
              <a:lnSpc>
                <a:spcPct val="95000"/>
              </a:lnSpc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rtl="0">
              <a:lnSpc>
                <a:spcPct val="95000"/>
              </a:lnSpc>
            </a:pPr>
            <a:r>
              <a:rPr lang="sv"/>
              <a:t>Title slide with taped headline, Arial Narrow 36 pt</a:t>
            </a:r>
            <a:endParaRPr lang="en-US"/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2D76B4F-B453-4AD2-96C5-A617375BB8CE}"/>
              </a:ext>
            </a:extLst>
          </p:cNvPr>
          <p:cNvGrpSpPr>
            <a:grpSpLocks/>
          </p:cNvGrpSpPr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55" name="Rectangle 1069">
              <a:extLst>
                <a:ext uri="{FF2B5EF4-FFF2-40B4-BE49-F238E27FC236}">
                  <a16:creationId xmlns:a16="http://schemas.microsoft.com/office/drawing/2014/main" id="{77406A79-67EA-4712-AB12-F8A3854A83F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56" name="AutoShape 4">
              <a:extLst>
                <a:ext uri="{FF2B5EF4-FFF2-40B4-BE49-F238E27FC236}">
                  <a16:creationId xmlns:a16="http://schemas.microsoft.com/office/drawing/2014/main" id="{317B0D42-B4C7-4308-AFB3-4310F4E2E06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57A0D84F-9200-4AC6-A2B8-F8A44DC707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AEEEED60-B5C4-4BB7-AE7B-B93F5E548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B7BE1049-AAD1-4AA1-B68D-FFCC6CCB5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ABB86660-6993-40AB-B11C-F5D2BCE8CD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A3AB8BF3-FCC7-4CFC-95F3-D21B97B0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3FF7A0FB-60A6-41A8-B91F-A0A661983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</p:grpSp>
      <p:sp>
        <p:nvSpPr>
          <p:cNvPr id="65" name="AutoShape 4">
            <a:extLst>
              <a:ext uri="{FF2B5EF4-FFF2-40B4-BE49-F238E27FC236}">
                <a16:creationId xmlns:a16="http://schemas.microsoft.com/office/drawing/2014/main" id="{51B3BA47-4FE8-4AE6-9440-41D3D1DEB46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008891" y="1882470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F45F639-8D0A-7BF2-E50B-C570F6CA62F0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63625CE-CAB7-552A-E40C-6EB39B5A5FA2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44464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with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2145320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683500" y="3239833"/>
            <a:ext cx="2444681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sv" noProof="0"/>
              <a:t>Chapter slide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9BBD5F2-A2AD-4462-85E7-B1D6B37E8DDD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22" name="Rectangle 1069">
              <a:extLst>
                <a:ext uri="{FF2B5EF4-FFF2-40B4-BE49-F238E27FC236}">
                  <a16:creationId xmlns:a16="http://schemas.microsoft.com/office/drawing/2014/main" id="{87BDA379-8B2E-4753-AEBE-3DAE6F59093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F6B7B515-D118-4609-83A6-3B768C9F3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D8AE9800-5A98-46A1-BC51-E1E4929F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0DA4966-C6FE-4883-8339-0F085B39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B54EDBA-3840-461E-8621-BD3EFC04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E0D6095-A00C-4964-9766-C85D67289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5EA789D-6253-4A32-A97A-12BA38CE5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F4994B61-25E9-4094-A2F1-8335B090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28506256-9BB1-4254-951B-86A87B1D02E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7172538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sv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59" name="Textplatzhalter 3">
            <a:extLst>
              <a:ext uri="{FF2B5EF4-FFF2-40B4-BE49-F238E27FC236}">
                <a16:creationId xmlns:a16="http://schemas.microsoft.com/office/drawing/2014/main" id="{4C9774D5-C979-4A09-A268-DE6418EAECB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83500" y="3938534"/>
            <a:ext cx="2847034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sv" noProof="0"/>
              <a:t>with picture left,</a:t>
            </a:r>
          </a:p>
        </p:txBody>
      </p:sp>
      <p:sp>
        <p:nvSpPr>
          <p:cNvPr id="61" name="Textplatzhalter 3">
            <a:extLst>
              <a:ext uri="{FF2B5EF4-FFF2-40B4-BE49-F238E27FC236}">
                <a16:creationId xmlns:a16="http://schemas.microsoft.com/office/drawing/2014/main" id="{2C21A9D6-9E75-45E9-94DB-6D518C5AD9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3500" y="4637235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sv" noProof="0"/>
              <a:t>Arial Narrow 36 pt</a:t>
            </a:r>
            <a:endParaRPr lang="en-GB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1121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40">
          <p15:clr>
            <a:srgbClr val="FBAE40"/>
          </p15:clr>
        </p15:guide>
        <p15:guide id="2" orient="horz" pos="204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with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95997839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Bildplatzhalter 69">
            <a:extLst>
              <a:ext uri="{FF2B5EF4-FFF2-40B4-BE49-F238E27FC236}">
                <a16:creationId xmlns:a16="http://schemas.microsoft.com/office/drawing/2014/main" id="{DF17127A-8AA8-462D-B96D-84CF2C01F66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024261" y="0"/>
            <a:ext cx="7172538" cy="6343650"/>
          </a:xfrm>
          <a:custGeom>
            <a:avLst/>
            <a:gdLst>
              <a:gd name="connsiteX0" fmla="*/ 5191218 w 7172538"/>
              <a:gd name="connsiteY0" fmla="*/ 263197 h 6343650"/>
              <a:gd name="connsiteX1" fmla="*/ 5191218 w 7172538"/>
              <a:gd name="connsiteY1" fmla="*/ 792687 h 6343650"/>
              <a:gd name="connsiteX2" fmla="*/ 6908879 w 7172538"/>
              <a:gd name="connsiteY2" fmla="*/ 792687 h 6343650"/>
              <a:gd name="connsiteX3" fmla="*/ 6908879 w 7172538"/>
              <a:gd name="connsiteY3" fmla="*/ 263197 h 6343650"/>
              <a:gd name="connsiteX4" fmla="*/ 0 w 7172538"/>
              <a:gd name="connsiteY4" fmla="*/ 0 h 6343650"/>
              <a:gd name="connsiteX5" fmla="*/ 7172538 w 7172538"/>
              <a:gd name="connsiteY5" fmla="*/ 0 h 6343650"/>
              <a:gd name="connsiteX6" fmla="*/ 7172538 w 7172538"/>
              <a:gd name="connsiteY6" fmla="*/ 6343650 h 6343650"/>
              <a:gd name="connsiteX7" fmla="*/ 0 w 7172538"/>
              <a:gd name="connsiteY7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72538" h="6343650">
                <a:moveTo>
                  <a:pt x="5191218" y="263197"/>
                </a:moveTo>
                <a:lnTo>
                  <a:pt x="5191218" y="792687"/>
                </a:lnTo>
                <a:lnTo>
                  <a:pt x="6908879" y="792687"/>
                </a:lnTo>
                <a:lnTo>
                  <a:pt x="6908879" y="263197"/>
                </a:lnTo>
                <a:close/>
                <a:moveTo>
                  <a:pt x="0" y="0"/>
                </a:moveTo>
                <a:lnTo>
                  <a:pt x="7172538" y="0"/>
                </a:lnTo>
                <a:lnTo>
                  <a:pt x="7172538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sv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9114" y="3249613"/>
            <a:ext cx="2444681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sv" noProof="0"/>
              <a:t>Chapter slide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9BBD5F2-A2AD-4462-85E7-B1D6B37E8DDD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22" name="Rectangle 1069">
              <a:extLst>
                <a:ext uri="{FF2B5EF4-FFF2-40B4-BE49-F238E27FC236}">
                  <a16:creationId xmlns:a16="http://schemas.microsoft.com/office/drawing/2014/main" id="{87BDA379-8B2E-4753-AEBE-3DAE6F59093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F6B7B515-D118-4609-83A6-3B768C9F3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D8AE9800-5A98-46A1-BC51-E1E4929F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0DA4966-C6FE-4883-8339-0F085B39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B54EDBA-3840-461E-8621-BD3EFC04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E0D6095-A00C-4964-9766-C85D67289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5EA789D-6253-4A32-A97A-12BA38CE5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F4994B61-25E9-4094-A2F1-8335B090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63" name="AutoShape 4">
            <a:extLst>
              <a:ext uri="{FF2B5EF4-FFF2-40B4-BE49-F238E27FC236}">
                <a16:creationId xmlns:a16="http://schemas.microsoft.com/office/drawing/2014/main" id="{C61057D3-0CE5-4988-9DAB-FD7F8ACF02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191509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71" name="Textplatzhalter 3">
            <a:extLst>
              <a:ext uri="{FF2B5EF4-FFF2-40B4-BE49-F238E27FC236}">
                <a16:creationId xmlns:a16="http://schemas.microsoft.com/office/drawing/2014/main" id="{F6042C6F-E208-4A6E-8DF6-E59F837737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9114" y="3948314"/>
            <a:ext cx="3077867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sv" noProof="0"/>
              <a:t>with picture right,</a:t>
            </a:r>
          </a:p>
        </p:txBody>
      </p:sp>
      <p:sp>
        <p:nvSpPr>
          <p:cNvPr id="72" name="Textplatzhalter 3">
            <a:extLst>
              <a:ext uri="{FF2B5EF4-FFF2-40B4-BE49-F238E27FC236}">
                <a16:creationId xmlns:a16="http://schemas.microsoft.com/office/drawing/2014/main" id="{E9523CF2-ECB7-4E80-BFDF-D7996244C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4" y="4647015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sv" noProof="0"/>
              <a:t>Arial Narrow 36 pt</a:t>
            </a:r>
            <a:endParaRPr lang="en-GB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349112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  <p15:guide id="2" orient="horz" pos="204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70704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sv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sv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sv" noProof="0"/>
              <a:t>Subheading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11661773" cy="5075236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sv" noProof="0"/>
              <a:t>Content text, Arial Regular 14 pt</a:t>
            </a:r>
          </a:p>
          <a:p>
            <a:pPr lvl="1" rtl="0"/>
            <a:r>
              <a:rPr lang="sv" noProof="0"/>
              <a:t>Content bullet, Arial Regular 14pt </a:t>
            </a:r>
          </a:p>
          <a:p>
            <a:pPr lvl="2" rtl="0"/>
            <a:r>
              <a:rPr lang="sv" noProof="0"/>
              <a:t>Content bullet</a:t>
            </a:r>
          </a:p>
          <a:p>
            <a:pPr lvl="3" rtl="0"/>
            <a:r>
              <a:rPr lang="sv" noProof="0"/>
              <a:t>Content bullet</a:t>
            </a:r>
          </a:p>
          <a:p>
            <a:pPr lvl="4" rtl="0"/>
            <a:r>
              <a:rPr lang="sv" noProof="0"/>
              <a:t>Content bulle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sv"/>
              <a:t>Content slide,</a:t>
            </a:r>
            <a:r>
              <a:rPr lang="sv" noProof="0"/>
              <a:t> Arial Narrow 2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63090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91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37992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sv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sv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sv" noProof="0"/>
              <a:t>Subheading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5759449" cy="5075236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sv" noProof="0"/>
              <a:t>Content text, Arial Regular 14 pt</a:t>
            </a:r>
          </a:p>
          <a:p>
            <a:pPr lvl="1" rtl="0"/>
            <a:r>
              <a:rPr lang="sv" noProof="0"/>
              <a:t>Content bullet, Arial Regular 14pt </a:t>
            </a:r>
          </a:p>
          <a:p>
            <a:pPr lvl="2" rtl="0"/>
            <a:r>
              <a:rPr lang="sv" noProof="0"/>
              <a:t>Content bullet</a:t>
            </a:r>
          </a:p>
          <a:p>
            <a:pPr lvl="3" rtl="0"/>
            <a:r>
              <a:rPr lang="sv" noProof="0"/>
              <a:t>Content bullet</a:t>
            </a:r>
          </a:p>
          <a:p>
            <a:pPr lvl="4" rtl="0"/>
            <a:r>
              <a:rPr lang="sv" noProof="0"/>
              <a:t>Content bulle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sv"/>
              <a:t>Content slide two boxes,</a:t>
            </a:r>
            <a:r>
              <a:rPr lang="sv" noProof="0"/>
              <a:t> Arial Narrow 24 pt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7FBEEAF-F9D0-4863-882A-E0B20988453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7125" y="1270158"/>
            <a:ext cx="5724525" cy="5076825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sv" noProof="0"/>
              <a:t>Content text, Arial Regular 14 pt</a:t>
            </a:r>
          </a:p>
          <a:p>
            <a:pPr lvl="1" rtl="0"/>
            <a:r>
              <a:rPr lang="sv" noProof="0"/>
              <a:t>Content bullet, Arial Regular 14 pt </a:t>
            </a:r>
          </a:p>
          <a:p>
            <a:pPr lvl="2" rtl="0"/>
            <a:r>
              <a:rPr lang="sv" noProof="0"/>
              <a:t>Content bullet</a:t>
            </a:r>
          </a:p>
          <a:p>
            <a:pPr lvl="3" rtl="0"/>
            <a:r>
              <a:rPr lang="sv" noProof="0"/>
              <a:t>Content bullet</a:t>
            </a:r>
          </a:p>
          <a:p>
            <a:pPr lvl="4" rtl="0"/>
            <a:r>
              <a:rPr lang="sv" noProof="0"/>
              <a:t>Content bulle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47600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91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hre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25633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sv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sv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sv" noProof="0"/>
              <a:t>Subheading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5759449" cy="5075236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200"/>
            </a:lvl5pPr>
          </a:lstStyle>
          <a:p>
            <a:pPr lvl="0" rtl="0"/>
            <a:r>
              <a:rPr lang="sv" noProof="0"/>
              <a:t>Content text, Arial Regular 14 pt</a:t>
            </a:r>
          </a:p>
          <a:p>
            <a:pPr lvl="1" rtl="0"/>
            <a:r>
              <a:rPr lang="sv" noProof="0"/>
              <a:t>Content bullet, Arial Regular 14pt </a:t>
            </a:r>
          </a:p>
          <a:p>
            <a:pPr lvl="2" rtl="0"/>
            <a:r>
              <a:rPr lang="sv" noProof="0"/>
              <a:t>Content bullet</a:t>
            </a:r>
          </a:p>
          <a:p>
            <a:pPr lvl="3" rtl="0"/>
            <a:r>
              <a:rPr lang="sv" noProof="0"/>
              <a:t>Content bullet</a:t>
            </a:r>
          </a:p>
          <a:p>
            <a:pPr lvl="4" rtl="0"/>
            <a:r>
              <a:rPr lang="sv" noProof="0"/>
              <a:t>Content bullet</a:t>
            </a:r>
          </a:p>
          <a:p>
            <a:pPr lvl="4" rtl="0"/>
            <a:endParaRPr lang="en-GB" noProof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sv"/>
              <a:t>Content slide three boxes,</a:t>
            </a:r>
            <a:r>
              <a:rPr lang="sv" noProof="0"/>
              <a:t> Arial Narrow 24 pt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7FBEEAF-F9D0-4863-882A-E0B20988453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7125" y="1270158"/>
            <a:ext cx="5724525" cy="2447925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sv" noProof="0"/>
              <a:t>Content text, Arial Regular 14 pt</a:t>
            </a:r>
          </a:p>
          <a:p>
            <a:pPr lvl="1" rtl="0"/>
            <a:r>
              <a:rPr lang="sv" noProof="0"/>
              <a:t>Content bullet, Arial Regular 14 pt </a:t>
            </a:r>
          </a:p>
          <a:p>
            <a:pPr lvl="2" rtl="0"/>
            <a:r>
              <a:rPr lang="sv" noProof="0"/>
              <a:t>Content bullet</a:t>
            </a:r>
          </a:p>
          <a:p>
            <a:pPr lvl="3" rtl="0"/>
            <a:r>
              <a:rPr lang="sv" noProof="0"/>
              <a:t>Content bullet</a:t>
            </a:r>
          </a:p>
          <a:p>
            <a:pPr lvl="4" rtl="0"/>
            <a:r>
              <a:rPr lang="sv" noProof="0"/>
              <a:t>Content bullet</a:t>
            </a:r>
          </a:p>
        </p:txBody>
      </p:sp>
      <p:sp>
        <p:nvSpPr>
          <p:cNvPr id="12" name="Inhaltsplatzhalter 8">
            <a:extLst>
              <a:ext uri="{FF2B5EF4-FFF2-40B4-BE49-F238E27FC236}">
                <a16:creationId xmlns:a16="http://schemas.microsoft.com/office/drawing/2014/main" id="{743C28FF-F4E0-4832-9900-2464ED6C784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07125" y="3897313"/>
            <a:ext cx="5724525" cy="2447925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200"/>
            </a:lvl5pPr>
          </a:lstStyle>
          <a:p>
            <a:pPr lvl="0" rtl="0"/>
            <a:r>
              <a:rPr lang="sv" noProof="0"/>
              <a:t>Content text, Arial Regular 14 pt</a:t>
            </a:r>
          </a:p>
          <a:p>
            <a:pPr lvl="1" rtl="0"/>
            <a:r>
              <a:rPr lang="sv" noProof="0"/>
              <a:t>Content bullet, Arial Regular 14 pt </a:t>
            </a:r>
          </a:p>
          <a:p>
            <a:pPr lvl="2" rtl="0"/>
            <a:r>
              <a:rPr lang="sv" noProof="0"/>
              <a:t>Content bullet</a:t>
            </a:r>
          </a:p>
          <a:p>
            <a:pPr lvl="3" rtl="0"/>
            <a:r>
              <a:rPr lang="sv" noProof="0"/>
              <a:t>Content bullet</a:t>
            </a:r>
          </a:p>
          <a:p>
            <a:pPr lvl="4" rtl="0"/>
            <a:r>
              <a:rPr lang="sv" noProof="0"/>
              <a:t>Content bullet</a:t>
            </a:r>
          </a:p>
          <a:p>
            <a:pPr lvl="4" rtl="0"/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62602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910">
          <p15:clr>
            <a:srgbClr val="FBAE40"/>
          </p15:clr>
        </p15:guide>
        <p15:guide id="3" orient="horz" pos="2341">
          <p15:clr>
            <a:srgbClr val="FBAE40"/>
          </p15:clr>
        </p15:guide>
        <p15:guide id="4" orient="horz" pos="245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25617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sv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sv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sv" noProof="0"/>
              <a:t>Subheading, Arial Regular 14 p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B07B292-2432-43AE-A9DC-E57B6304BA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sv" noProof="0"/>
              <a:t>Only title, Arial Narrow 2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4998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11577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2">
            <a:extLst>
              <a:ext uri="{FF2B5EF4-FFF2-40B4-BE49-F238E27FC236}">
                <a16:creationId xmlns:a16="http://schemas.microsoft.com/office/drawing/2014/main" id="{4DBF72B4-64D4-6915-1636-7C561D3AA1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823421" y="6643445"/>
            <a:ext cx="111100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3" name="Fußzeilenplatzhalter 3">
            <a:extLst>
              <a:ext uri="{FF2B5EF4-FFF2-40B4-BE49-F238E27FC236}">
                <a16:creationId xmlns:a16="http://schemas.microsoft.com/office/drawing/2014/main" id="{A6BC0260-7F8E-4CD1-B81F-71B3430A6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9878" y="6643445"/>
            <a:ext cx="5068886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oliennummernplatzhalter 4">
            <a:extLst>
              <a:ext uri="{FF2B5EF4-FFF2-40B4-BE49-F238E27FC236}">
                <a16:creationId xmlns:a16="http://schemas.microsoft.com/office/drawing/2014/main" id="{33688D0D-07B6-6113-C484-C4824B0731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00799" y="6643445"/>
            <a:ext cx="42924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sv"/>
              <a:t> -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836FDE6-5DF1-D4E9-0069-EA9D9B797348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D8AA6CB-FBA6-D75B-FF67-2708768202A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40F73542-BF22-B017-BDDC-B7439BD89B8C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8" name="Rectangle 1069">
              <a:extLst>
                <a:ext uri="{FF2B5EF4-FFF2-40B4-BE49-F238E27FC236}">
                  <a16:creationId xmlns:a16="http://schemas.microsoft.com/office/drawing/2014/main" id="{32449F84-8CCC-E599-A93A-DF09F439D25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9" name="AutoShape 4">
              <a:extLst>
                <a:ext uri="{FF2B5EF4-FFF2-40B4-BE49-F238E27FC236}">
                  <a16:creationId xmlns:a16="http://schemas.microsoft.com/office/drawing/2014/main" id="{3D658E6D-A9B4-54D1-098B-EB0C15C2F55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5E533E9C-8DFC-58A2-4934-625C3854F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55AB9ADD-D971-2A2D-87DF-31BCF126B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5AE12D66-6D8B-0F62-5D03-1EC99E336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E749A0EE-B2BF-21D9-BCDE-342B4B92FF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DB5ADDF1-411C-A152-9A2F-1BC837212A4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75EA8F85-760F-6BE5-007E-631ED5199E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9861891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>
            <a:extLst>
              <a:ext uri="{FF2B5EF4-FFF2-40B4-BE49-F238E27FC236}">
                <a16:creationId xmlns:a16="http://schemas.microsoft.com/office/drawing/2014/main" id="{BDA693A6-6320-3DE5-54C1-F09CD2A38BA5}"/>
              </a:ext>
            </a:extLst>
          </p:cNvPr>
          <p:cNvSpPr/>
          <p:nvPr userDrawn="1"/>
        </p:nvSpPr>
        <p:spPr>
          <a:xfrm>
            <a:off x="-1551" y="1"/>
            <a:ext cx="12198350" cy="63452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61444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2">
            <a:extLst>
              <a:ext uri="{FF2B5EF4-FFF2-40B4-BE49-F238E27FC236}">
                <a16:creationId xmlns:a16="http://schemas.microsoft.com/office/drawing/2014/main" id="{4DBF72B4-64D4-6915-1636-7C561D3AA1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823421" y="6643445"/>
            <a:ext cx="111100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3" name="Fußzeilenplatzhalter 3">
            <a:extLst>
              <a:ext uri="{FF2B5EF4-FFF2-40B4-BE49-F238E27FC236}">
                <a16:creationId xmlns:a16="http://schemas.microsoft.com/office/drawing/2014/main" id="{A6BC0260-7F8E-4CD1-B81F-71B3430A6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9878" y="6643445"/>
            <a:ext cx="5068886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oliennummernplatzhalter 4">
            <a:extLst>
              <a:ext uri="{FF2B5EF4-FFF2-40B4-BE49-F238E27FC236}">
                <a16:creationId xmlns:a16="http://schemas.microsoft.com/office/drawing/2014/main" id="{33688D0D-07B6-6113-C484-C4824B0731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00799" y="6643445"/>
            <a:ext cx="42924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sv"/>
              <a:t> -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836FDE6-5DF1-D4E9-0069-EA9D9B797348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D8AA6CB-FBA6-D75B-FF67-2708768202A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18" name="Titel 17">
            <a:extLst>
              <a:ext uri="{FF2B5EF4-FFF2-40B4-BE49-F238E27FC236}">
                <a16:creationId xmlns:a16="http://schemas.microsoft.com/office/drawing/2014/main" id="{7E370BF9-B634-DBC9-0293-3101281D85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624807"/>
            <a:ext cx="9682162" cy="369332"/>
          </a:xfrm>
        </p:spPr>
        <p:txBody>
          <a:bodyPr vert="horz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sv"/>
              <a:t>Content slide dark gray, Arial Narrow 24 pt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53E3D09C-96EF-B068-7CB7-64BDEA8B7675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25" name="Rectangle 1069">
              <a:extLst>
                <a:ext uri="{FF2B5EF4-FFF2-40B4-BE49-F238E27FC236}">
                  <a16:creationId xmlns:a16="http://schemas.microsoft.com/office/drawing/2014/main" id="{B516F1FD-129C-4BF4-3E85-AB6EC641293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26" name="AutoShape 4">
              <a:extLst>
                <a:ext uri="{FF2B5EF4-FFF2-40B4-BE49-F238E27FC236}">
                  <a16:creationId xmlns:a16="http://schemas.microsoft.com/office/drawing/2014/main" id="{3D78F144-156B-D12D-DCDF-07B29089C51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9854976F-0B33-4304-B876-B4900672A9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094B694F-3146-D0F6-2E26-B5CA51794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C7649504-5DAC-D36D-53B9-1DA5A5778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C61899D0-01AF-0A36-EF14-E7F45614B04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2F3B6481-3AA0-0713-F816-2B0734C2F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0C6ADCFC-838E-48FE-05CC-99E7CDA0E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F3260FAA-0043-05D5-488C-5E301BAA9E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sv"/>
              <a:t>Content text, Arial Regular 14 pt</a:t>
            </a:r>
          </a:p>
          <a:p>
            <a:pPr lvl="1" rtl="0"/>
            <a:r>
              <a:rPr lang="sv"/>
              <a:t>Content bullet, Arial Regular 14 pt </a:t>
            </a:r>
          </a:p>
          <a:p>
            <a:pPr lvl="2" rtl="0"/>
            <a:r>
              <a:rPr lang="sv"/>
              <a:t>Content bullet</a:t>
            </a:r>
            <a:endParaRPr lang="en-US" noProof="0"/>
          </a:p>
          <a:p>
            <a:pPr lvl="3" rtl="0"/>
            <a:r>
              <a:rPr lang="sv"/>
              <a:t>Content bullet</a:t>
            </a:r>
            <a:endParaRPr lang="en-US" noProof="0"/>
          </a:p>
          <a:p>
            <a:pPr lvl="4" rtl="0"/>
            <a:r>
              <a:rPr lang="sv"/>
              <a:t>Content bullet</a:t>
            </a:r>
            <a:endParaRPr lang="en-US" noProof="0"/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CCDCEEC9-DCAE-28E3-28D9-BE5B817DCB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 rtl="0"/>
            <a:r>
              <a:rPr lang="sv"/>
              <a:t>Topline, Arial Regular 1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990678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72918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hteck 43">
            <a:extLst>
              <a:ext uri="{FF2B5EF4-FFF2-40B4-BE49-F238E27FC236}">
                <a16:creationId xmlns:a16="http://schemas.microsoft.com/office/drawing/2014/main" id="{221018A7-EF83-5A7C-2FEA-61A4E9E27571}"/>
              </a:ext>
            </a:extLst>
          </p:cNvPr>
          <p:cNvSpPr/>
          <p:nvPr userDrawn="1"/>
        </p:nvSpPr>
        <p:spPr>
          <a:xfrm>
            <a:off x="-1551" y="1"/>
            <a:ext cx="12198350" cy="6345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2">
            <a:extLst>
              <a:ext uri="{FF2B5EF4-FFF2-40B4-BE49-F238E27FC236}">
                <a16:creationId xmlns:a16="http://schemas.microsoft.com/office/drawing/2014/main" id="{4DBF72B4-64D4-6915-1636-7C561D3AA1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823421" y="6643445"/>
            <a:ext cx="111100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3" name="Fußzeilenplatzhalter 3">
            <a:extLst>
              <a:ext uri="{FF2B5EF4-FFF2-40B4-BE49-F238E27FC236}">
                <a16:creationId xmlns:a16="http://schemas.microsoft.com/office/drawing/2014/main" id="{A6BC0260-7F8E-4CD1-B81F-71B3430A6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9878" y="6643445"/>
            <a:ext cx="5068886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oliennummernplatzhalter 4">
            <a:extLst>
              <a:ext uri="{FF2B5EF4-FFF2-40B4-BE49-F238E27FC236}">
                <a16:creationId xmlns:a16="http://schemas.microsoft.com/office/drawing/2014/main" id="{33688D0D-07B6-6113-C484-C4824B0731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00799" y="6643445"/>
            <a:ext cx="42924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sv"/>
              <a:t> -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836FDE6-5DF1-D4E9-0069-EA9D9B797348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D8AA6CB-FBA6-D75B-FF67-2708768202A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E06CD9F1-7B3B-4D50-46E9-6F923E6057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sv"/>
              <a:t>Content slide blue, Arial Narrow 24 pt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236D6B67-8859-4D14-8D36-57AD3CDFCE6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34" name="Rectangle 1069">
              <a:extLst>
                <a:ext uri="{FF2B5EF4-FFF2-40B4-BE49-F238E27FC236}">
                  <a16:creationId xmlns:a16="http://schemas.microsoft.com/office/drawing/2014/main" id="{C34C3477-2CA7-C5F8-1289-2B4A8105DAC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35" name="AutoShape 4">
              <a:extLst>
                <a:ext uri="{FF2B5EF4-FFF2-40B4-BE49-F238E27FC236}">
                  <a16:creationId xmlns:a16="http://schemas.microsoft.com/office/drawing/2014/main" id="{7527B1D0-2307-66DE-91FC-EA71F979DF9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8E5E75B6-DB75-08AE-0210-E571FB3DB9F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F746E98E-7788-D102-EE46-E91C579650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8" name="Freeform 8">
              <a:extLst>
                <a:ext uri="{FF2B5EF4-FFF2-40B4-BE49-F238E27FC236}">
                  <a16:creationId xmlns:a16="http://schemas.microsoft.com/office/drawing/2014/main" id="{598249E0-258F-1305-9368-D29D8B279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9" name="Freeform 9">
              <a:extLst>
                <a:ext uri="{FF2B5EF4-FFF2-40B4-BE49-F238E27FC236}">
                  <a16:creationId xmlns:a16="http://schemas.microsoft.com/office/drawing/2014/main" id="{3E1CFF12-5FFD-961F-E3FC-3B635E3E618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51BD0D83-1957-B102-7BC2-3E47C723D6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1" name="Freeform 11">
              <a:extLst>
                <a:ext uri="{FF2B5EF4-FFF2-40B4-BE49-F238E27FC236}">
                  <a16:creationId xmlns:a16="http://schemas.microsoft.com/office/drawing/2014/main" id="{27390908-F726-3296-7F50-BAA483FB6E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27FA3290-6BBA-3C42-2248-FE21C17E3F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sv"/>
              <a:t>Content text, Arial Regular 14 pt</a:t>
            </a:r>
          </a:p>
          <a:p>
            <a:pPr lvl="1" rtl="0"/>
            <a:r>
              <a:rPr lang="sv"/>
              <a:t>Content bullet, Arial Regular 14 pt </a:t>
            </a:r>
          </a:p>
          <a:p>
            <a:pPr lvl="2" rtl="0"/>
            <a:r>
              <a:rPr lang="sv"/>
              <a:t>Content bullet</a:t>
            </a:r>
            <a:endParaRPr lang="en-US" noProof="0"/>
          </a:p>
          <a:p>
            <a:pPr lvl="3" rtl="0"/>
            <a:r>
              <a:rPr lang="sv"/>
              <a:t>Content bullet</a:t>
            </a:r>
            <a:endParaRPr lang="en-US" noProof="0"/>
          </a:p>
          <a:p>
            <a:pPr lvl="4" rtl="0"/>
            <a:r>
              <a:rPr lang="sv"/>
              <a:t>Content bullet</a:t>
            </a:r>
            <a:endParaRPr lang="en-US" noProof="0"/>
          </a:p>
        </p:txBody>
      </p:sp>
      <p:sp>
        <p:nvSpPr>
          <p:cNvPr id="45" name="Textplatzhalter 36">
            <a:extLst>
              <a:ext uri="{FF2B5EF4-FFF2-40B4-BE49-F238E27FC236}">
                <a16:creationId xmlns:a16="http://schemas.microsoft.com/office/drawing/2014/main" id="{09B0263C-5E61-7A36-46B6-9B5549EFF6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 rtl="0"/>
            <a:r>
              <a:rPr lang="sv"/>
              <a:t>Topline, Arial Regular 1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247550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headlin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57429299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398E2361-6FE4-42FA-F2A0-F5C3243C802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sv" noProof="0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5ABC2BC-0225-E0FE-E92B-382F454B08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624807"/>
            <a:ext cx="9682162" cy="369332"/>
          </a:xfrm>
        </p:spPr>
        <p:txBody>
          <a:bodyPr vert="horz" rtlCol="0"/>
          <a:lstStyle>
            <a:lvl1pPr rtl="0">
              <a:defRPr/>
            </a:lvl1pPr>
          </a:lstStyle>
          <a:p>
            <a:pPr rtl="0"/>
            <a:r>
              <a:rPr lang="sv" noProof="0"/>
              <a:t>Content slide headline with picture, Arial Narrow 24 pt</a:t>
            </a: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CB54669-939B-3FA7-F373-3490F5E071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sv" noProof="0"/>
              <a:t>Content text, Arial Regular 14 pt</a:t>
            </a:r>
          </a:p>
          <a:p>
            <a:pPr lvl="1" rtl="0"/>
            <a:r>
              <a:rPr lang="sv" noProof="0"/>
              <a:t>Content bullet, Arial Regular 14 pt </a:t>
            </a:r>
          </a:p>
          <a:p>
            <a:pPr lvl="2" rtl="0"/>
            <a:r>
              <a:rPr lang="sv" noProof="0"/>
              <a:t>Content bullet</a:t>
            </a:r>
          </a:p>
          <a:p>
            <a:pPr lvl="3" rtl="0"/>
            <a:r>
              <a:rPr lang="sv" noProof="0"/>
              <a:t>Content bullet</a:t>
            </a:r>
          </a:p>
          <a:p>
            <a:pPr lvl="4" rtl="0"/>
            <a:r>
              <a:rPr lang="sv" noProof="0"/>
              <a:t>Content bullet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D6B6110-3312-1933-4232-657BDD3278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/>
            </a:lvl1pPr>
            <a:lvl5pPr>
              <a:defRPr/>
            </a:lvl5pPr>
          </a:lstStyle>
          <a:p>
            <a:pPr lvl="0" rtl="0"/>
            <a:r>
              <a:rPr lang="sv" noProof="0"/>
              <a:t>Topline, Arial Regular 14 p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2886868-F17A-6534-C015-3F4BD26CEF6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E46B98C-8CDA-964A-D440-F6D66F53523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0D134B4-257E-4AD0-ADCE-B9C7BAC2F2A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 rtlCol="0"/>
          <a:lstStyle/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sv"/>
              <a:t> -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D4DFF1BC-1219-967B-9D36-8B1160266FB7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0" name="Rectangle 1069">
              <a:extLst>
                <a:ext uri="{FF2B5EF4-FFF2-40B4-BE49-F238E27FC236}">
                  <a16:creationId xmlns:a16="http://schemas.microsoft.com/office/drawing/2014/main" id="{18ACDE4F-F818-166D-C966-7280A5776BC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9C99D0C0-04C4-831B-8D84-EA8DA9AFAF3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792E7BA9-1ADD-3C4F-7F11-F42E77CDB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16A3654B-CD52-0CDB-2475-AC89F1E14B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782EB882-3FCD-B7C0-2405-523B7EC34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F1AD5021-DF8E-FF32-8229-8A78A0FF9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4ADA2214-93D2-016C-B524-6957662BD06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82E7ABB9-97F1-760C-62EF-D4A2C918F9B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6434221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title slide with tap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6417916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DE0ECA5-B005-8122-4C43-2D51893CA8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8350" cy="6350001"/>
          </a:xfrm>
          <a:custGeom>
            <a:avLst/>
            <a:gdLst>
              <a:gd name="connsiteX0" fmla="*/ 10215479 w 12198350"/>
              <a:gd name="connsiteY0" fmla="*/ 263197 h 6350001"/>
              <a:gd name="connsiteX1" fmla="*/ 10215479 w 12198350"/>
              <a:gd name="connsiteY1" fmla="*/ 792687 h 6350001"/>
              <a:gd name="connsiteX2" fmla="*/ 11933140 w 12198350"/>
              <a:gd name="connsiteY2" fmla="*/ 792687 h 6350001"/>
              <a:gd name="connsiteX3" fmla="*/ 11933140 w 12198350"/>
              <a:gd name="connsiteY3" fmla="*/ 263197 h 6350001"/>
              <a:gd name="connsiteX4" fmla="*/ 0 w 12198350"/>
              <a:gd name="connsiteY4" fmla="*/ 0 h 6350001"/>
              <a:gd name="connsiteX5" fmla="*/ 12198350 w 12198350"/>
              <a:gd name="connsiteY5" fmla="*/ 0 h 6350001"/>
              <a:gd name="connsiteX6" fmla="*/ 12198350 w 12198350"/>
              <a:gd name="connsiteY6" fmla="*/ 6350001 h 6350001"/>
              <a:gd name="connsiteX7" fmla="*/ 0 w 12198350"/>
              <a:gd name="connsiteY7" fmla="*/ 6350001 h 63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0001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0001"/>
                </a:lnTo>
                <a:lnTo>
                  <a:pt x="0" y="635000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sv"/>
              <a:t>Please insert an image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endParaRPr lang="en-GB"/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9114" y="3249613"/>
            <a:ext cx="180476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sv" noProof="0"/>
              <a:t>Title slide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9BBD5F2-A2AD-4462-85E7-B1D6B37E8DDD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22" name="Rectangle 1069">
              <a:extLst>
                <a:ext uri="{FF2B5EF4-FFF2-40B4-BE49-F238E27FC236}">
                  <a16:creationId xmlns:a16="http://schemas.microsoft.com/office/drawing/2014/main" id="{87BDA379-8B2E-4753-AEBE-3DAE6F59093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F6B7B515-D118-4609-83A6-3B768C9F3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D8AE9800-5A98-46A1-BC51-E1E4929F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0DA4966-C6FE-4883-8339-0F085B39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B54EDBA-3840-461E-8621-BD3EFC04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E0D6095-A00C-4964-9766-C85D67289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5EA789D-6253-4A32-A97A-12BA38CE5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F4994B61-25E9-4094-A2F1-8335B090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63" name="AutoShape 4">
            <a:extLst>
              <a:ext uri="{FF2B5EF4-FFF2-40B4-BE49-F238E27FC236}">
                <a16:creationId xmlns:a16="http://schemas.microsoft.com/office/drawing/2014/main" id="{C61057D3-0CE5-4988-9DAB-FD7F8ACF02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191509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71" name="Textplatzhalter 3">
            <a:extLst>
              <a:ext uri="{FF2B5EF4-FFF2-40B4-BE49-F238E27FC236}">
                <a16:creationId xmlns:a16="http://schemas.microsoft.com/office/drawing/2014/main" id="{F6042C6F-E208-4A6E-8DF6-E59F837737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9114" y="3948314"/>
            <a:ext cx="3473809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sv" noProof="0"/>
              <a:t>with taped headline</a:t>
            </a:r>
          </a:p>
        </p:txBody>
      </p:sp>
      <p:sp>
        <p:nvSpPr>
          <p:cNvPr id="72" name="Textplatzhalter 3">
            <a:extLst>
              <a:ext uri="{FF2B5EF4-FFF2-40B4-BE49-F238E27FC236}">
                <a16:creationId xmlns:a16="http://schemas.microsoft.com/office/drawing/2014/main" id="{E9523CF2-ECB7-4E80-BFDF-D7996244C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4" y="4647015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sv" noProof="0"/>
              <a:t>Arial Narrow 36 pt</a:t>
            </a:r>
          </a:p>
        </p:txBody>
      </p:sp>
      <p:sp>
        <p:nvSpPr>
          <p:cNvPr id="61" name="Textplatzhalter 5">
            <a:extLst>
              <a:ext uri="{FF2B5EF4-FFF2-40B4-BE49-F238E27FC236}">
                <a16:creationId xmlns:a16="http://schemas.microsoft.com/office/drawing/2014/main" id="{99F39292-0B4C-42C7-B3B4-D910E7005C8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113" y="5884669"/>
            <a:ext cx="11414027" cy="246221"/>
          </a:xfrm>
        </p:spPr>
        <p:txBody>
          <a:bodyPr rtlCol="0">
            <a:spAutoFit/>
          </a:bodyPr>
          <a:lstStyle>
            <a:lvl1pPr marL="0" indent="0" rtl="0"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 rtl="0"/>
            <a:r>
              <a:rPr lang="sv" noProof="0"/>
              <a:t>Subheading, Arial Regular 16 pt</a:t>
            </a:r>
            <a:endParaRPr lang="en-GB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75F36B1-C5EC-DC3C-AD2A-844FA1E10D2B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3ADA3677-3458-28C9-C739-703198E1D90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71683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  <p15:guide id="2" orient="horz" pos="204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ize picture w/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5783677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Bildplatzhalter 46">
            <a:extLst>
              <a:ext uri="{FF2B5EF4-FFF2-40B4-BE49-F238E27FC236}">
                <a16:creationId xmlns:a16="http://schemas.microsoft.com/office/drawing/2014/main" id="{77AF5D23-1B27-E064-D553-AE08CABFBB5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sv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01B7D06-BB61-961C-BB36-D84EBC23A88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4362E4D-60AF-115B-674D-7F8D0698D29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3DD0AC6-2D84-E35E-7E87-608C6D2188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 rtlCol="0"/>
          <a:lstStyle/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sv"/>
              <a:t> -</a:t>
            </a:r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EB069002-28BC-415C-3010-8C3F4A1E0D16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31" name="Rectangle 1069">
              <a:extLst>
                <a:ext uri="{FF2B5EF4-FFF2-40B4-BE49-F238E27FC236}">
                  <a16:creationId xmlns:a16="http://schemas.microsoft.com/office/drawing/2014/main" id="{1A161E79-0720-C382-B7BB-08BB3888736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32" name="AutoShape 4">
              <a:extLst>
                <a:ext uri="{FF2B5EF4-FFF2-40B4-BE49-F238E27FC236}">
                  <a16:creationId xmlns:a16="http://schemas.microsoft.com/office/drawing/2014/main" id="{43D19308-F64D-F3AE-E7A7-F3689FA603B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D8556E10-3FFA-533A-3FF5-7DD47A2AD38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B5E68804-1222-863D-EF94-605B0A9608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F75B368E-86FC-B2DA-B46C-2D75BB913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EFD627CA-1032-1861-62BF-6B07E04BA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44F51552-8DF2-4E15-DC16-73F8047E2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4214316D-9713-1B46-6437-900AFFAEE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803177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ap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57144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sv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2649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aseline="0"/>
            </a:lvl1pPr>
          </a:lstStyle>
          <a:p>
            <a:pPr lvl="0" rtl="0"/>
            <a:r>
              <a:rPr lang="sv" noProof="0"/>
              <a:t>Topline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11661773" cy="5075236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sv" noProof="0"/>
              <a:t>Content text, Arial Regular 14 pt</a:t>
            </a:r>
          </a:p>
          <a:p>
            <a:pPr lvl="1" rtl="0"/>
            <a:r>
              <a:rPr lang="sv" noProof="0"/>
              <a:t>Content bullet, Arial Regular 14 pt </a:t>
            </a:r>
          </a:p>
          <a:p>
            <a:pPr lvl="2" rtl="0"/>
            <a:r>
              <a:rPr lang="sv" noProof="0"/>
              <a:t>Content bullet</a:t>
            </a:r>
          </a:p>
          <a:p>
            <a:pPr lvl="3" rtl="0"/>
            <a:r>
              <a:rPr lang="sv" noProof="0"/>
              <a:t>Content bullet</a:t>
            </a:r>
          </a:p>
          <a:p>
            <a:pPr lvl="4" rtl="0"/>
            <a:r>
              <a:rPr lang="sv" noProof="0"/>
              <a:t>Content bulle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6104914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sv"/>
              <a:t>Content slide with taped headline,</a:t>
            </a:r>
            <a:r>
              <a:rPr lang="sv" noProof="0"/>
              <a:t> Arial Narrow 2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599966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aped headline and 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82878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sv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2649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aseline="0"/>
            </a:lvl1pPr>
          </a:lstStyle>
          <a:p>
            <a:pPr lvl="0" rtl="0"/>
            <a:r>
              <a:rPr lang="sv" noProof="0"/>
              <a:t>Topline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5759449" cy="5075236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sv" noProof="0"/>
              <a:t>Content text, Arial Regular 14 pt</a:t>
            </a:r>
          </a:p>
          <a:p>
            <a:pPr lvl="1" rtl="0"/>
            <a:r>
              <a:rPr lang="sv" noProof="0"/>
              <a:t>Content bullet, Arial Regular 14 pt </a:t>
            </a:r>
          </a:p>
          <a:p>
            <a:pPr lvl="2" rtl="0"/>
            <a:r>
              <a:rPr lang="sv" noProof="0"/>
              <a:t>Content bullet</a:t>
            </a:r>
          </a:p>
          <a:p>
            <a:pPr lvl="3" rtl="0"/>
            <a:r>
              <a:rPr lang="sv" noProof="0"/>
              <a:t>Content bullet</a:t>
            </a:r>
          </a:p>
          <a:p>
            <a:pPr lvl="4" rtl="0"/>
            <a:r>
              <a:rPr lang="sv" noProof="0"/>
              <a:t>Content bulle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7739977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sv"/>
              <a:t>Content slide with taped headline and two boxes,</a:t>
            </a:r>
            <a:r>
              <a:rPr lang="sv" noProof="0"/>
              <a:t> Arial Narrow 24 pt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7FBEEAF-F9D0-4863-882A-E0B20988453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7125" y="1270158"/>
            <a:ext cx="5724525" cy="5076825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sv" noProof="0"/>
              <a:t>Content text, Arial Regular 14 pt</a:t>
            </a:r>
          </a:p>
          <a:p>
            <a:pPr lvl="1" rtl="0"/>
            <a:r>
              <a:rPr lang="sv" noProof="0"/>
              <a:t>Content bullet, Arial Regular 14 pt </a:t>
            </a:r>
          </a:p>
          <a:p>
            <a:pPr lvl="2" rtl="0"/>
            <a:r>
              <a:rPr lang="sv" noProof="0"/>
              <a:t>Content bullet</a:t>
            </a:r>
          </a:p>
          <a:p>
            <a:pPr lvl="3" rtl="0"/>
            <a:r>
              <a:rPr lang="sv" noProof="0"/>
              <a:t>Content bullet</a:t>
            </a:r>
          </a:p>
          <a:p>
            <a:pPr lvl="4" rtl="0"/>
            <a:r>
              <a:rPr lang="sv" noProof="0"/>
              <a:t>Content bullet</a:t>
            </a:r>
          </a:p>
          <a:p>
            <a:pPr lvl="4" rtl="0"/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89736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 userDrawn="1">
          <p15:clr>
            <a:srgbClr val="FBAE40"/>
          </p15:clr>
        </p15:guide>
        <p15:guide id="2" pos="391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 tap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2961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sv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2649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aseline="0"/>
            </a:lvl1pPr>
          </a:lstStyle>
          <a:p>
            <a:pPr lvl="0" rtl="0"/>
            <a:r>
              <a:rPr lang="sv"/>
              <a:t>Topline, Arial Regular 14 p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B07B292-2432-43AE-A9DC-E57B6304BA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5822785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sv"/>
              <a:t>Only title with taped headline, Arial Narrow 2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706089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8980543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86494D7F-9370-56A6-30B0-AE6FE068BBF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sv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7570058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sv"/>
              <a:t>Content slide with taped headline and picture, Arial Narrow 24 p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sv"/>
              <a:t>Content text, Arial Regular 14 pt</a:t>
            </a:r>
          </a:p>
          <a:p>
            <a:pPr lvl="1" rtl="0"/>
            <a:r>
              <a:rPr lang="sv"/>
              <a:t>Content bullet, Arial Regular 14 pt </a:t>
            </a:r>
          </a:p>
          <a:p>
            <a:pPr lvl="2" rtl="0"/>
            <a:r>
              <a:rPr lang="sv"/>
              <a:t>Content bullet</a:t>
            </a:r>
            <a:endParaRPr lang="en-US" noProof="0"/>
          </a:p>
          <a:p>
            <a:pPr lvl="3" rtl="0"/>
            <a:r>
              <a:rPr lang="sv"/>
              <a:t>Content bullet</a:t>
            </a:r>
            <a:endParaRPr lang="en-US" noProof="0"/>
          </a:p>
          <a:p>
            <a:pPr lvl="4" rtl="0"/>
            <a:r>
              <a:rPr lang="sv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/>
            </a:lvl1pPr>
          </a:lstStyle>
          <a:p>
            <a:pPr lvl="0" rtl="0"/>
            <a:r>
              <a:rPr lang="sv"/>
              <a:t>Topline, Arial Regular 14 p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9E1534E-F360-569A-8010-0FFE2661EB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D0C95D3-F038-4937-C35D-FA9331F7F23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0E8F808-458D-173F-E1FD-1BEAF594105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 rtlCol="0"/>
          <a:lstStyle/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sv"/>
              <a:t> -</a:t>
            </a:r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C2FFF9F6-30D7-B5EA-2493-FD461BEA7577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41" name="Rectangle 1069">
              <a:extLst>
                <a:ext uri="{FF2B5EF4-FFF2-40B4-BE49-F238E27FC236}">
                  <a16:creationId xmlns:a16="http://schemas.microsoft.com/office/drawing/2014/main" id="{CB40E35C-A0DA-FC69-3502-8A6C6DB6BBC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42" name="AutoShape 4">
              <a:extLst>
                <a:ext uri="{FF2B5EF4-FFF2-40B4-BE49-F238E27FC236}">
                  <a16:creationId xmlns:a16="http://schemas.microsoft.com/office/drawing/2014/main" id="{D6FCB538-EEBF-433E-A5CA-4D1C7009CE5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F339AA97-66AD-3AD9-F393-3974D12B10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4" name="Freeform 7">
              <a:extLst>
                <a:ext uri="{FF2B5EF4-FFF2-40B4-BE49-F238E27FC236}">
                  <a16:creationId xmlns:a16="http://schemas.microsoft.com/office/drawing/2014/main" id="{A2DD09DC-0810-20CD-11C0-4C8CBBFCC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3724F65E-AD3F-37F6-D0E6-729951174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6" name="Freeform 9">
              <a:extLst>
                <a:ext uri="{FF2B5EF4-FFF2-40B4-BE49-F238E27FC236}">
                  <a16:creationId xmlns:a16="http://schemas.microsoft.com/office/drawing/2014/main" id="{52C09A67-74BD-99CB-48FE-3F5990E68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7" name="Freeform 10">
              <a:extLst>
                <a:ext uri="{FF2B5EF4-FFF2-40B4-BE49-F238E27FC236}">
                  <a16:creationId xmlns:a16="http://schemas.microsoft.com/office/drawing/2014/main" id="{F38DB953-DB0A-B20E-BA2B-155F7029F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9725FB04-6469-E0A8-F904-B99BA82C8F7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9473540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and tw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79926324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AD7060CF-6E05-4E59-D4B0-85751A61AC1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1" y="0"/>
            <a:ext cx="6096001" cy="6345238"/>
          </a:xfrm>
          <a:solidFill>
            <a:schemeClr val="bg2"/>
          </a:solidFill>
        </p:spPr>
        <p:txBody>
          <a:bodyPr rtlCol="0" anchor="ctr"/>
          <a:lstStyle>
            <a:lvl1pPr algn="ctr">
              <a:defRPr/>
            </a:lvl1pPr>
          </a:lstStyle>
          <a:p>
            <a:pPr rtl="0"/>
            <a:r>
              <a:rPr lang="sv"/>
              <a:t>Please insert an image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sv"/>
              <a:t>Content text, Arial Regular 14 pt</a:t>
            </a:r>
          </a:p>
          <a:p>
            <a:pPr lvl="1" rtl="0"/>
            <a:r>
              <a:rPr lang="sv"/>
              <a:t>Content bullet, Arial Regular 14 pt </a:t>
            </a:r>
          </a:p>
          <a:p>
            <a:pPr lvl="2" rtl="0"/>
            <a:r>
              <a:rPr lang="sv"/>
              <a:t>Content bullet</a:t>
            </a:r>
            <a:endParaRPr lang="en-US" noProof="0"/>
          </a:p>
          <a:p>
            <a:pPr lvl="3" rtl="0"/>
            <a:r>
              <a:rPr lang="sv"/>
              <a:t>Content bullet</a:t>
            </a:r>
            <a:endParaRPr lang="en-US" noProof="0"/>
          </a:p>
          <a:p>
            <a:pPr lvl="4" rtl="0"/>
            <a:r>
              <a:rPr lang="sv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/>
            </a:lvl1pPr>
          </a:lstStyle>
          <a:p>
            <a:pPr lvl="0" rtl="0"/>
            <a:r>
              <a:rPr lang="sv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sv"/>
              <a:t> -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2F3191C-86E2-4AFD-E442-F2349F7643D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8" name="Rectangle 1069">
              <a:extLst>
                <a:ext uri="{FF2B5EF4-FFF2-40B4-BE49-F238E27FC236}">
                  <a16:creationId xmlns:a16="http://schemas.microsoft.com/office/drawing/2014/main" id="{03D12D15-52D8-C1FD-69A4-BF47817092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E0B6B33C-038F-43EF-0212-E202B594B0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5849354-B52C-9075-8FDB-674E68A7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FF1A7D0D-A4A9-78B2-AD6D-46A219DE6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B624DCC-0EF8-91EA-CEDD-42F663F06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18C4A32-97C0-E9BE-96D0-7B9A6CDC4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F378695-FF78-D7C1-5975-DFAA7BDB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E96B4C5B-604E-0DDB-C407-8E98029C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5483A9F-F13A-DA26-34E5-33C67837C3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46754" y="0"/>
            <a:ext cx="6050044" cy="6343650"/>
          </a:xfrm>
          <a:custGeom>
            <a:avLst/>
            <a:gdLst>
              <a:gd name="connsiteX0" fmla="*/ 4567833 w 6050044"/>
              <a:gd name="connsiteY0" fmla="*/ 263197 h 6343650"/>
              <a:gd name="connsiteX1" fmla="*/ 4567833 w 6050044"/>
              <a:gd name="connsiteY1" fmla="*/ 638831 h 6343650"/>
              <a:gd name="connsiteX2" fmla="*/ 5786385 w 6050044"/>
              <a:gd name="connsiteY2" fmla="*/ 638831 h 6343650"/>
              <a:gd name="connsiteX3" fmla="*/ 5786385 w 6050044"/>
              <a:gd name="connsiteY3" fmla="*/ 263197 h 6343650"/>
              <a:gd name="connsiteX4" fmla="*/ 0 w 6050044"/>
              <a:gd name="connsiteY4" fmla="*/ 0 h 6343650"/>
              <a:gd name="connsiteX5" fmla="*/ 52444 w 6050044"/>
              <a:gd name="connsiteY5" fmla="*/ 0 h 6343650"/>
              <a:gd name="connsiteX6" fmla="*/ 973339 w 6050044"/>
              <a:gd name="connsiteY6" fmla="*/ 0 h 6343650"/>
              <a:gd name="connsiteX7" fmla="*/ 1025783 w 6050044"/>
              <a:gd name="connsiteY7" fmla="*/ 0 h 6343650"/>
              <a:gd name="connsiteX8" fmla="*/ 3051245 w 6050044"/>
              <a:gd name="connsiteY8" fmla="*/ 0 h 6343650"/>
              <a:gd name="connsiteX9" fmla="*/ 6050044 w 6050044"/>
              <a:gd name="connsiteY9" fmla="*/ 0 h 6343650"/>
              <a:gd name="connsiteX10" fmla="*/ 6050044 w 6050044"/>
              <a:gd name="connsiteY10" fmla="*/ 6343650 h 6343650"/>
              <a:gd name="connsiteX11" fmla="*/ 3051245 w 6050044"/>
              <a:gd name="connsiteY11" fmla="*/ 6343650 h 6343650"/>
              <a:gd name="connsiteX12" fmla="*/ 1025783 w 6050044"/>
              <a:gd name="connsiteY12" fmla="*/ 6343650 h 6343650"/>
              <a:gd name="connsiteX13" fmla="*/ 973339 w 6050044"/>
              <a:gd name="connsiteY13" fmla="*/ 6343650 h 6343650"/>
              <a:gd name="connsiteX14" fmla="*/ 52444 w 6050044"/>
              <a:gd name="connsiteY14" fmla="*/ 6343650 h 6343650"/>
              <a:gd name="connsiteX15" fmla="*/ 0 w 6050044"/>
              <a:gd name="connsiteY15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50044" h="6343650">
                <a:moveTo>
                  <a:pt x="4567833" y="263197"/>
                </a:moveTo>
                <a:lnTo>
                  <a:pt x="4567833" y="638831"/>
                </a:lnTo>
                <a:lnTo>
                  <a:pt x="5786385" y="638831"/>
                </a:lnTo>
                <a:lnTo>
                  <a:pt x="5786385" y="263197"/>
                </a:lnTo>
                <a:close/>
                <a:moveTo>
                  <a:pt x="0" y="0"/>
                </a:moveTo>
                <a:lnTo>
                  <a:pt x="52444" y="0"/>
                </a:lnTo>
                <a:lnTo>
                  <a:pt x="973339" y="0"/>
                </a:lnTo>
                <a:lnTo>
                  <a:pt x="1025783" y="0"/>
                </a:lnTo>
                <a:lnTo>
                  <a:pt x="3051245" y="0"/>
                </a:lnTo>
                <a:lnTo>
                  <a:pt x="6050044" y="0"/>
                </a:lnTo>
                <a:lnTo>
                  <a:pt x="6050044" y="6343650"/>
                </a:lnTo>
                <a:lnTo>
                  <a:pt x="3051245" y="6343650"/>
                </a:lnTo>
                <a:lnTo>
                  <a:pt x="1025783" y="6343650"/>
                </a:lnTo>
                <a:lnTo>
                  <a:pt x="973339" y="6343650"/>
                </a:lnTo>
                <a:lnTo>
                  <a:pt x="52444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sv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5742057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sv"/>
              <a:t>Content slide with taped headline and two picture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373099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dark gray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6787842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-1550" y="1"/>
            <a:ext cx="6096001" cy="63452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5499100" cy="4860925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sv"/>
              <a:t>Content text, Arial Regular 14 pt</a:t>
            </a:r>
          </a:p>
          <a:p>
            <a:pPr lvl="1" rtl="0"/>
            <a:r>
              <a:rPr lang="sv"/>
              <a:t>Content bullet, Arial Regular 14 pt </a:t>
            </a:r>
          </a:p>
          <a:p>
            <a:pPr lvl="2" rtl="0"/>
            <a:r>
              <a:rPr lang="sv"/>
              <a:t>Content bullet</a:t>
            </a:r>
            <a:endParaRPr lang="en-US" noProof="0"/>
          </a:p>
          <a:p>
            <a:pPr lvl="3" rtl="0"/>
            <a:r>
              <a:rPr lang="sv"/>
              <a:t>Content bullet</a:t>
            </a:r>
            <a:endParaRPr lang="en-US" noProof="0"/>
          </a:p>
          <a:p>
            <a:pPr lvl="4" rtl="0"/>
            <a:r>
              <a:rPr lang="sv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7" y="264974"/>
            <a:ext cx="5499100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 rtl="0"/>
            <a:r>
              <a:rPr lang="sv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sv"/>
              <a:t> -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2F3191C-86E2-4AFD-E442-F2349F7643D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8" name="Rectangle 1069">
              <a:extLst>
                <a:ext uri="{FF2B5EF4-FFF2-40B4-BE49-F238E27FC236}">
                  <a16:creationId xmlns:a16="http://schemas.microsoft.com/office/drawing/2014/main" id="{03D12D15-52D8-C1FD-69A4-BF47817092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E0B6B33C-038F-43EF-0212-E202B594B0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5849354-B52C-9075-8FDB-674E68A7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FF1A7D0D-A4A9-78B2-AD6D-46A219DE6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B624DCC-0EF8-91EA-CEDD-42F663F06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18C4A32-97C0-E9BE-96D0-7B9A6CDC4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F378695-FF78-D7C1-5975-DFAA7BDB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E96B4C5B-604E-0DDB-C407-8E98029C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5483A9F-F13A-DA26-34E5-33C67837C3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46754" y="0"/>
            <a:ext cx="6050044" cy="6343650"/>
          </a:xfrm>
          <a:custGeom>
            <a:avLst/>
            <a:gdLst>
              <a:gd name="connsiteX0" fmla="*/ 4567833 w 6050044"/>
              <a:gd name="connsiteY0" fmla="*/ 263197 h 6343650"/>
              <a:gd name="connsiteX1" fmla="*/ 4567833 w 6050044"/>
              <a:gd name="connsiteY1" fmla="*/ 638831 h 6343650"/>
              <a:gd name="connsiteX2" fmla="*/ 5786385 w 6050044"/>
              <a:gd name="connsiteY2" fmla="*/ 638831 h 6343650"/>
              <a:gd name="connsiteX3" fmla="*/ 5786385 w 6050044"/>
              <a:gd name="connsiteY3" fmla="*/ 263197 h 6343650"/>
              <a:gd name="connsiteX4" fmla="*/ 0 w 6050044"/>
              <a:gd name="connsiteY4" fmla="*/ 0 h 6343650"/>
              <a:gd name="connsiteX5" fmla="*/ 52444 w 6050044"/>
              <a:gd name="connsiteY5" fmla="*/ 0 h 6343650"/>
              <a:gd name="connsiteX6" fmla="*/ 973339 w 6050044"/>
              <a:gd name="connsiteY6" fmla="*/ 0 h 6343650"/>
              <a:gd name="connsiteX7" fmla="*/ 1025783 w 6050044"/>
              <a:gd name="connsiteY7" fmla="*/ 0 h 6343650"/>
              <a:gd name="connsiteX8" fmla="*/ 3051245 w 6050044"/>
              <a:gd name="connsiteY8" fmla="*/ 0 h 6343650"/>
              <a:gd name="connsiteX9" fmla="*/ 6050044 w 6050044"/>
              <a:gd name="connsiteY9" fmla="*/ 0 h 6343650"/>
              <a:gd name="connsiteX10" fmla="*/ 6050044 w 6050044"/>
              <a:gd name="connsiteY10" fmla="*/ 6343650 h 6343650"/>
              <a:gd name="connsiteX11" fmla="*/ 3051245 w 6050044"/>
              <a:gd name="connsiteY11" fmla="*/ 6343650 h 6343650"/>
              <a:gd name="connsiteX12" fmla="*/ 1025783 w 6050044"/>
              <a:gd name="connsiteY12" fmla="*/ 6343650 h 6343650"/>
              <a:gd name="connsiteX13" fmla="*/ 973339 w 6050044"/>
              <a:gd name="connsiteY13" fmla="*/ 6343650 h 6343650"/>
              <a:gd name="connsiteX14" fmla="*/ 52444 w 6050044"/>
              <a:gd name="connsiteY14" fmla="*/ 6343650 h 6343650"/>
              <a:gd name="connsiteX15" fmla="*/ 0 w 6050044"/>
              <a:gd name="connsiteY15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50044" h="6343650">
                <a:moveTo>
                  <a:pt x="4567833" y="263197"/>
                </a:moveTo>
                <a:lnTo>
                  <a:pt x="4567833" y="638831"/>
                </a:lnTo>
                <a:lnTo>
                  <a:pt x="5786385" y="638831"/>
                </a:lnTo>
                <a:lnTo>
                  <a:pt x="5786385" y="263197"/>
                </a:lnTo>
                <a:close/>
                <a:moveTo>
                  <a:pt x="0" y="0"/>
                </a:moveTo>
                <a:lnTo>
                  <a:pt x="52444" y="0"/>
                </a:lnTo>
                <a:lnTo>
                  <a:pt x="973339" y="0"/>
                </a:lnTo>
                <a:lnTo>
                  <a:pt x="1025783" y="0"/>
                </a:lnTo>
                <a:lnTo>
                  <a:pt x="3051245" y="0"/>
                </a:lnTo>
                <a:lnTo>
                  <a:pt x="6050044" y="0"/>
                </a:lnTo>
                <a:lnTo>
                  <a:pt x="6050044" y="6343650"/>
                </a:lnTo>
                <a:lnTo>
                  <a:pt x="3051245" y="6343650"/>
                </a:lnTo>
                <a:lnTo>
                  <a:pt x="1025783" y="6343650"/>
                </a:lnTo>
                <a:lnTo>
                  <a:pt x="973339" y="6343650"/>
                </a:lnTo>
                <a:lnTo>
                  <a:pt x="52444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sv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5078414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sv"/>
              <a:t>Content slide with taped headline dark gray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287363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middle gray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7930085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-1550" y="1"/>
            <a:ext cx="6096001" cy="6345238"/>
          </a:xfrm>
          <a:prstGeom prst="rect">
            <a:avLst/>
          </a:prstGeom>
          <a:solidFill>
            <a:srgbClr val="8F8F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5499100" cy="4860925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sv"/>
              <a:t>Content text, Arial Regular 14 pt</a:t>
            </a:r>
          </a:p>
          <a:p>
            <a:pPr lvl="1" rtl="0"/>
            <a:r>
              <a:rPr lang="sv"/>
              <a:t>Content bullet, Arial Regular 14 pt </a:t>
            </a:r>
          </a:p>
          <a:p>
            <a:pPr lvl="2" rtl="0"/>
            <a:r>
              <a:rPr lang="sv"/>
              <a:t>Content bullet</a:t>
            </a:r>
            <a:endParaRPr lang="en-US" noProof="0"/>
          </a:p>
          <a:p>
            <a:pPr lvl="3" rtl="0"/>
            <a:r>
              <a:rPr lang="sv"/>
              <a:t>Content bullet</a:t>
            </a:r>
            <a:endParaRPr lang="en-US" noProof="0"/>
          </a:p>
          <a:p>
            <a:pPr lvl="4" rtl="0"/>
            <a:r>
              <a:rPr lang="sv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7" y="264974"/>
            <a:ext cx="5499100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 rtl="0"/>
            <a:r>
              <a:rPr lang="sv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sv"/>
              <a:t> -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2F3191C-86E2-4AFD-E442-F2349F7643D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8" name="Rectangle 1069">
              <a:extLst>
                <a:ext uri="{FF2B5EF4-FFF2-40B4-BE49-F238E27FC236}">
                  <a16:creationId xmlns:a16="http://schemas.microsoft.com/office/drawing/2014/main" id="{03D12D15-52D8-C1FD-69A4-BF47817092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E0B6B33C-038F-43EF-0212-E202B594B0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5849354-B52C-9075-8FDB-674E68A7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FF1A7D0D-A4A9-78B2-AD6D-46A219DE6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B624DCC-0EF8-91EA-CEDD-42F663F06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18C4A32-97C0-E9BE-96D0-7B9A6CDC4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F378695-FF78-D7C1-5975-DFAA7BDB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E96B4C5B-604E-0DDB-C407-8E98029C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5483A9F-F13A-DA26-34E5-33C67837C3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46754" y="0"/>
            <a:ext cx="6050044" cy="6343650"/>
          </a:xfrm>
          <a:custGeom>
            <a:avLst/>
            <a:gdLst>
              <a:gd name="connsiteX0" fmla="*/ 4567833 w 6050044"/>
              <a:gd name="connsiteY0" fmla="*/ 263197 h 6343650"/>
              <a:gd name="connsiteX1" fmla="*/ 4567833 w 6050044"/>
              <a:gd name="connsiteY1" fmla="*/ 638831 h 6343650"/>
              <a:gd name="connsiteX2" fmla="*/ 5786385 w 6050044"/>
              <a:gd name="connsiteY2" fmla="*/ 638831 h 6343650"/>
              <a:gd name="connsiteX3" fmla="*/ 5786385 w 6050044"/>
              <a:gd name="connsiteY3" fmla="*/ 263197 h 6343650"/>
              <a:gd name="connsiteX4" fmla="*/ 0 w 6050044"/>
              <a:gd name="connsiteY4" fmla="*/ 0 h 6343650"/>
              <a:gd name="connsiteX5" fmla="*/ 52444 w 6050044"/>
              <a:gd name="connsiteY5" fmla="*/ 0 h 6343650"/>
              <a:gd name="connsiteX6" fmla="*/ 973339 w 6050044"/>
              <a:gd name="connsiteY6" fmla="*/ 0 h 6343650"/>
              <a:gd name="connsiteX7" fmla="*/ 1025783 w 6050044"/>
              <a:gd name="connsiteY7" fmla="*/ 0 h 6343650"/>
              <a:gd name="connsiteX8" fmla="*/ 3051245 w 6050044"/>
              <a:gd name="connsiteY8" fmla="*/ 0 h 6343650"/>
              <a:gd name="connsiteX9" fmla="*/ 6050044 w 6050044"/>
              <a:gd name="connsiteY9" fmla="*/ 0 h 6343650"/>
              <a:gd name="connsiteX10" fmla="*/ 6050044 w 6050044"/>
              <a:gd name="connsiteY10" fmla="*/ 6343650 h 6343650"/>
              <a:gd name="connsiteX11" fmla="*/ 3051245 w 6050044"/>
              <a:gd name="connsiteY11" fmla="*/ 6343650 h 6343650"/>
              <a:gd name="connsiteX12" fmla="*/ 1025783 w 6050044"/>
              <a:gd name="connsiteY12" fmla="*/ 6343650 h 6343650"/>
              <a:gd name="connsiteX13" fmla="*/ 973339 w 6050044"/>
              <a:gd name="connsiteY13" fmla="*/ 6343650 h 6343650"/>
              <a:gd name="connsiteX14" fmla="*/ 52444 w 6050044"/>
              <a:gd name="connsiteY14" fmla="*/ 6343650 h 6343650"/>
              <a:gd name="connsiteX15" fmla="*/ 0 w 6050044"/>
              <a:gd name="connsiteY15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50044" h="6343650">
                <a:moveTo>
                  <a:pt x="4567833" y="263197"/>
                </a:moveTo>
                <a:lnTo>
                  <a:pt x="4567833" y="638831"/>
                </a:lnTo>
                <a:lnTo>
                  <a:pt x="5786385" y="638831"/>
                </a:lnTo>
                <a:lnTo>
                  <a:pt x="5786385" y="263197"/>
                </a:lnTo>
                <a:close/>
                <a:moveTo>
                  <a:pt x="0" y="0"/>
                </a:moveTo>
                <a:lnTo>
                  <a:pt x="52444" y="0"/>
                </a:lnTo>
                <a:lnTo>
                  <a:pt x="973339" y="0"/>
                </a:lnTo>
                <a:lnTo>
                  <a:pt x="1025783" y="0"/>
                </a:lnTo>
                <a:lnTo>
                  <a:pt x="3051245" y="0"/>
                </a:lnTo>
                <a:lnTo>
                  <a:pt x="6050044" y="0"/>
                </a:lnTo>
                <a:lnTo>
                  <a:pt x="6050044" y="6343650"/>
                </a:lnTo>
                <a:lnTo>
                  <a:pt x="3051245" y="6343650"/>
                </a:lnTo>
                <a:lnTo>
                  <a:pt x="1025783" y="6343650"/>
                </a:lnTo>
                <a:lnTo>
                  <a:pt x="973339" y="6343650"/>
                </a:lnTo>
                <a:lnTo>
                  <a:pt x="52444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sv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90" y="588456"/>
            <a:ext cx="5331689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sv"/>
              <a:t>Content slide with taped headline middle gray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379785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blu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19347828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-1550" y="1"/>
            <a:ext cx="6096001" cy="6345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5499100" cy="4860925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sv"/>
              <a:t>Content text, Arial Regular 14 pt</a:t>
            </a:r>
          </a:p>
          <a:p>
            <a:pPr lvl="1" rtl="0"/>
            <a:r>
              <a:rPr lang="sv"/>
              <a:t>Content bullet, Arial Regular 14 pt </a:t>
            </a:r>
          </a:p>
          <a:p>
            <a:pPr lvl="2" rtl="0"/>
            <a:r>
              <a:rPr lang="sv"/>
              <a:t>Content bullet</a:t>
            </a:r>
            <a:endParaRPr lang="en-US" noProof="0"/>
          </a:p>
          <a:p>
            <a:pPr lvl="3" rtl="0"/>
            <a:r>
              <a:rPr lang="sv"/>
              <a:t>Content bullet</a:t>
            </a:r>
            <a:endParaRPr lang="en-US" noProof="0"/>
          </a:p>
          <a:p>
            <a:pPr lvl="4" rtl="0"/>
            <a:r>
              <a:rPr lang="sv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7" y="264974"/>
            <a:ext cx="5499100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 rtl="0"/>
            <a:r>
              <a:rPr lang="sv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sv"/>
              <a:t> -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2F3191C-86E2-4AFD-E442-F2349F7643D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8" name="Rectangle 1069">
              <a:extLst>
                <a:ext uri="{FF2B5EF4-FFF2-40B4-BE49-F238E27FC236}">
                  <a16:creationId xmlns:a16="http://schemas.microsoft.com/office/drawing/2014/main" id="{03D12D15-52D8-C1FD-69A4-BF47817092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E0B6B33C-038F-43EF-0212-E202B594B0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5849354-B52C-9075-8FDB-674E68A7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FF1A7D0D-A4A9-78B2-AD6D-46A219DE6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B624DCC-0EF8-91EA-CEDD-42F663F06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18C4A32-97C0-E9BE-96D0-7B9A6CDC4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F378695-FF78-D7C1-5975-DFAA7BDB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E96B4C5B-604E-0DDB-C407-8E98029C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5483A9F-F13A-DA26-34E5-33C67837C3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46754" y="0"/>
            <a:ext cx="6050044" cy="6343650"/>
          </a:xfrm>
          <a:custGeom>
            <a:avLst/>
            <a:gdLst>
              <a:gd name="connsiteX0" fmla="*/ 4567833 w 6050044"/>
              <a:gd name="connsiteY0" fmla="*/ 263197 h 6343650"/>
              <a:gd name="connsiteX1" fmla="*/ 4567833 w 6050044"/>
              <a:gd name="connsiteY1" fmla="*/ 638831 h 6343650"/>
              <a:gd name="connsiteX2" fmla="*/ 5786385 w 6050044"/>
              <a:gd name="connsiteY2" fmla="*/ 638831 h 6343650"/>
              <a:gd name="connsiteX3" fmla="*/ 5786385 w 6050044"/>
              <a:gd name="connsiteY3" fmla="*/ 263197 h 6343650"/>
              <a:gd name="connsiteX4" fmla="*/ 0 w 6050044"/>
              <a:gd name="connsiteY4" fmla="*/ 0 h 6343650"/>
              <a:gd name="connsiteX5" fmla="*/ 52444 w 6050044"/>
              <a:gd name="connsiteY5" fmla="*/ 0 h 6343650"/>
              <a:gd name="connsiteX6" fmla="*/ 973339 w 6050044"/>
              <a:gd name="connsiteY6" fmla="*/ 0 h 6343650"/>
              <a:gd name="connsiteX7" fmla="*/ 1025783 w 6050044"/>
              <a:gd name="connsiteY7" fmla="*/ 0 h 6343650"/>
              <a:gd name="connsiteX8" fmla="*/ 3051245 w 6050044"/>
              <a:gd name="connsiteY8" fmla="*/ 0 h 6343650"/>
              <a:gd name="connsiteX9" fmla="*/ 6050044 w 6050044"/>
              <a:gd name="connsiteY9" fmla="*/ 0 h 6343650"/>
              <a:gd name="connsiteX10" fmla="*/ 6050044 w 6050044"/>
              <a:gd name="connsiteY10" fmla="*/ 6343650 h 6343650"/>
              <a:gd name="connsiteX11" fmla="*/ 3051245 w 6050044"/>
              <a:gd name="connsiteY11" fmla="*/ 6343650 h 6343650"/>
              <a:gd name="connsiteX12" fmla="*/ 1025783 w 6050044"/>
              <a:gd name="connsiteY12" fmla="*/ 6343650 h 6343650"/>
              <a:gd name="connsiteX13" fmla="*/ 973339 w 6050044"/>
              <a:gd name="connsiteY13" fmla="*/ 6343650 h 6343650"/>
              <a:gd name="connsiteX14" fmla="*/ 52444 w 6050044"/>
              <a:gd name="connsiteY14" fmla="*/ 6343650 h 6343650"/>
              <a:gd name="connsiteX15" fmla="*/ 0 w 6050044"/>
              <a:gd name="connsiteY15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50044" h="6343650">
                <a:moveTo>
                  <a:pt x="4567833" y="263197"/>
                </a:moveTo>
                <a:lnTo>
                  <a:pt x="4567833" y="638831"/>
                </a:lnTo>
                <a:lnTo>
                  <a:pt x="5786385" y="638831"/>
                </a:lnTo>
                <a:lnTo>
                  <a:pt x="5786385" y="263197"/>
                </a:lnTo>
                <a:close/>
                <a:moveTo>
                  <a:pt x="0" y="0"/>
                </a:moveTo>
                <a:lnTo>
                  <a:pt x="52444" y="0"/>
                </a:lnTo>
                <a:lnTo>
                  <a:pt x="973339" y="0"/>
                </a:lnTo>
                <a:lnTo>
                  <a:pt x="1025783" y="0"/>
                </a:lnTo>
                <a:lnTo>
                  <a:pt x="3051245" y="0"/>
                </a:lnTo>
                <a:lnTo>
                  <a:pt x="6050044" y="0"/>
                </a:lnTo>
                <a:lnTo>
                  <a:pt x="6050044" y="6343650"/>
                </a:lnTo>
                <a:lnTo>
                  <a:pt x="3051245" y="6343650"/>
                </a:lnTo>
                <a:lnTo>
                  <a:pt x="1025783" y="6343650"/>
                </a:lnTo>
                <a:lnTo>
                  <a:pt x="973339" y="6343650"/>
                </a:lnTo>
                <a:lnTo>
                  <a:pt x="52444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sv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8" y="624807"/>
            <a:ext cx="5499100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sv"/>
              <a:t>Content slide blue with picture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446687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aped headline dark gray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1486580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A8B5D45-F884-9B17-935F-16FA8C4FDC7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6096001" cy="6345238"/>
          </a:xfrm>
          <a:solidFill>
            <a:schemeClr val="bg2"/>
          </a:solidFill>
        </p:spPr>
        <p:txBody>
          <a:bodyPr rtlCol="0"/>
          <a:lstStyle/>
          <a:p>
            <a:pPr rtl="0"/>
            <a:r>
              <a:rPr lang="sv"/>
              <a:t>Please insert an imag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6145200" y="1"/>
            <a:ext cx="6051599" cy="63452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86842" y="2353901"/>
            <a:ext cx="5546297" cy="3775437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sv"/>
              <a:t>Content text, Arial Regular 14 pt</a:t>
            </a:r>
          </a:p>
          <a:p>
            <a:pPr lvl="1" rtl="0"/>
            <a:r>
              <a:rPr lang="sv"/>
              <a:t>Content bullet, Arial Regular 14 pt </a:t>
            </a:r>
          </a:p>
          <a:p>
            <a:pPr lvl="2" rtl="0"/>
            <a:r>
              <a:rPr lang="sv"/>
              <a:t>Content bullet</a:t>
            </a:r>
            <a:endParaRPr lang="en-US" noProof="0"/>
          </a:p>
          <a:p>
            <a:pPr lvl="3" rtl="0"/>
            <a:r>
              <a:rPr lang="sv"/>
              <a:t>Content bullet</a:t>
            </a:r>
            <a:endParaRPr lang="en-US" noProof="0"/>
          </a:p>
          <a:p>
            <a:pPr lvl="4" rtl="0"/>
            <a:r>
              <a:rPr lang="sv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8429" y="1274841"/>
            <a:ext cx="5546297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 rtl="0"/>
            <a:r>
              <a:rPr lang="sv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sv"/>
              <a:t> -</a:t>
            </a:r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8432" y="1598323"/>
            <a:ext cx="5078414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sv"/>
              <a:t>Content slide with taped headline dark gray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8A9BA94-440C-8B8C-B58D-A9211D52447D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1" name="Rectangle 1069">
              <a:extLst>
                <a:ext uri="{FF2B5EF4-FFF2-40B4-BE49-F238E27FC236}">
                  <a16:creationId xmlns:a16="http://schemas.microsoft.com/office/drawing/2014/main" id="{75DE629B-E0AF-8976-DA52-979CC6A47E7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F88B1B9E-9654-E21C-741B-C110D6C6EE7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5851E80A-82BD-D9C4-B8FC-E85E4EDFC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3D5ED7D9-7422-46C1-CD49-198617E83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3A230543-56C6-BF58-E2C2-BE6826770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CCC16CA0-9036-A3EC-169F-D86C69F50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03B88F43-F8FC-94C7-12C2-CCB5A3665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1FAA7795-7203-8147-EEB8-753D0E2E4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5649593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59170552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88FA891D-4C80-FD57-476E-3475000B54F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215479 w 12198350"/>
              <a:gd name="connsiteY0" fmla="*/ 263197 h 6354763"/>
              <a:gd name="connsiteX1" fmla="*/ 10215479 w 12198350"/>
              <a:gd name="connsiteY1" fmla="*/ 792687 h 6354763"/>
              <a:gd name="connsiteX2" fmla="*/ 11933140 w 12198350"/>
              <a:gd name="connsiteY2" fmla="*/ 792687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sv"/>
              <a:t>Please insert an image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5884669"/>
            <a:ext cx="11414027" cy="246221"/>
          </a:xfrm>
        </p:spPr>
        <p:txBody>
          <a:bodyPr rtlCol="0">
            <a:noAutofit/>
          </a:bodyPr>
          <a:lstStyle>
            <a:lvl1pPr marL="0" indent="0" rtl="0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sv" noProof="0"/>
              <a:t>Subheading, Arial Regular 16 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4508701"/>
            <a:ext cx="11414027" cy="1052596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 rtl="0">
              <a:lnSpc>
                <a:spcPct val="95000"/>
              </a:lnSpc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rtl="0">
              <a:lnSpc>
                <a:spcPct val="95000"/>
              </a:lnSpc>
            </a:pPr>
            <a:r>
              <a:rPr lang="sv" noProof="0"/>
              <a:t>Title slide white text, max. 2 lines,</a:t>
            </a:r>
            <a:br>
              <a:rPr lang="en-US" noProof="0"/>
            </a:br>
            <a:r>
              <a:rPr lang="sv" noProof="0"/>
              <a:t>Arial Narrow 36 pt</a:t>
            </a:r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2D76B4F-B453-4AD2-96C5-A617375BB8CE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55" name="Rectangle 1069">
              <a:extLst>
                <a:ext uri="{FF2B5EF4-FFF2-40B4-BE49-F238E27FC236}">
                  <a16:creationId xmlns:a16="http://schemas.microsoft.com/office/drawing/2014/main" id="{77406A79-67EA-4712-AB12-F8A3854A83F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56" name="AutoShape 4">
              <a:extLst>
                <a:ext uri="{FF2B5EF4-FFF2-40B4-BE49-F238E27FC236}">
                  <a16:creationId xmlns:a16="http://schemas.microsoft.com/office/drawing/2014/main" id="{317B0D42-B4C7-4308-AFB3-4310F4E2E06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57A0D84F-9200-4AC6-A2B8-F8A44DC707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AEEEED60-B5C4-4BB7-AE7B-B93F5E548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B7BE1049-AAD1-4AA1-B68D-FFCC6CCB5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ABB86660-6993-40AB-B11C-F5D2BCE8CD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A3AB8BF3-FCC7-4CFC-95F3-D21B97B0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3FF7A0FB-60A6-41A8-B91F-A0A661983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65" name="AutoShape 4">
            <a:extLst>
              <a:ext uri="{FF2B5EF4-FFF2-40B4-BE49-F238E27FC236}">
                <a16:creationId xmlns:a16="http://schemas.microsoft.com/office/drawing/2014/main" id="{51B3BA47-4FE8-4AE6-9440-41D3D1DEB46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008891" y="1882470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EFA3FDA-055B-BB89-18C1-676FAE7967F8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7CB337E-4353-AFF8-82DD-72AA96CA82E8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09197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blue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1089685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A8B5D45-F884-9B17-935F-16FA8C4FDC7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6096001" cy="6345238"/>
          </a:xfrm>
          <a:solidFill>
            <a:schemeClr val="bg2"/>
          </a:solidFill>
        </p:spPr>
        <p:txBody>
          <a:bodyPr rtlCol="0"/>
          <a:lstStyle/>
          <a:p>
            <a:pPr rtl="0"/>
            <a:r>
              <a:rPr lang="sv"/>
              <a:t>Please insert an imag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6145200" y="1"/>
            <a:ext cx="6051599" cy="6345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86842" y="2353901"/>
            <a:ext cx="5546297" cy="3775437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sv"/>
              <a:t>Content text, Arial Regular 14 pt</a:t>
            </a:r>
          </a:p>
          <a:p>
            <a:pPr lvl="1" rtl="0"/>
            <a:r>
              <a:rPr lang="sv"/>
              <a:t>Content bullet, Arial Regular 14 pt </a:t>
            </a:r>
          </a:p>
          <a:p>
            <a:pPr lvl="2" rtl="0"/>
            <a:r>
              <a:rPr lang="sv"/>
              <a:t>Content bullet</a:t>
            </a:r>
            <a:endParaRPr lang="en-US" noProof="0"/>
          </a:p>
          <a:p>
            <a:pPr lvl="3" rtl="0"/>
            <a:r>
              <a:rPr lang="sv"/>
              <a:t>Content bullet</a:t>
            </a:r>
            <a:endParaRPr lang="en-US" noProof="0"/>
          </a:p>
          <a:p>
            <a:pPr lvl="4" rtl="0"/>
            <a:r>
              <a:rPr lang="sv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8429" y="1274841"/>
            <a:ext cx="5546297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 rtl="0"/>
            <a:r>
              <a:rPr lang="sv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sv"/>
              <a:t> -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8A9BA94-440C-8B8C-B58D-A9211D52447D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1" name="Rectangle 1069">
              <a:extLst>
                <a:ext uri="{FF2B5EF4-FFF2-40B4-BE49-F238E27FC236}">
                  <a16:creationId xmlns:a16="http://schemas.microsoft.com/office/drawing/2014/main" id="{75DE629B-E0AF-8976-DA52-979CC6A47E7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F88B1B9E-9654-E21C-741B-C110D6C6EE7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5851E80A-82BD-D9C4-B8FC-E85E4EDFC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3D5ED7D9-7422-46C1-CD49-198617E83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3A230543-56C6-BF58-E2C2-BE6826770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CCC16CA0-9036-A3EC-169F-D86C69F50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03B88F43-F8FC-94C7-12C2-CCB5A3665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1FAA7795-7203-8147-EEB8-753D0E2E4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8429" y="1626604"/>
            <a:ext cx="5546297" cy="369332"/>
          </a:xfrm>
          <a:noFill/>
        </p:spPr>
        <p:txBody>
          <a:bodyPr vert="horz" wrap="square" lIns="0" tIns="0" rIns="0" bIns="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sv"/>
              <a:t>Content slide blue and picture left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427879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aped headline light gray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3920632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A8B5D45-F884-9B17-935F-16FA8C4FDC7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6096001" cy="6345238"/>
          </a:xfrm>
          <a:solidFill>
            <a:schemeClr val="bg2"/>
          </a:solidFill>
        </p:spPr>
        <p:txBody>
          <a:bodyPr rtlCol="0"/>
          <a:lstStyle/>
          <a:p>
            <a:pPr rtl="0"/>
            <a:r>
              <a:rPr lang="sv"/>
              <a:t>Please insert an imag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6145200" y="1"/>
            <a:ext cx="6051599" cy="63452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86842" y="2353901"/>
            <a:ext cx="5546297" cy="3775437"/>
          </a:xfrm>
        </p:spPr>
        <p:txBody>
          <a:bodyPr rtlCol="0"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 rtl="0"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 rtl="0"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rtl="0"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 rtl="0"/>
            <a:r>
              <a:rPr lang="sv"/>
              <a:t>Content text, Arial Regular 14 pt</a:t>
            </a:r>
          </a:p>
          <a:p>
            <a:pPr lvl="1" rtl="0"/>
            <a:r>
              <a:rPr lang="sv"/>
              <a:t>Content bullet, Arial Regular 14 pt </a:t>
            </a:r>
          </a:p>
          <a:p>
            <a:pPr lvl="2" rtl="0"/>
            <a:r>
              <a:rPr lang="sv"/>
              <a:t>Content bullet</a:t>
            </a:r>
            <a:endParaRPr lang="en-US" noProof="0"/>
          </a:p>
          <a:p>
            <a:pPr lvl="3" rtl="0"/>
            <a:r>
              <a:rPr lang="sv"/>
              <a:t>Content bullet</a:t>
            </a:r>
            <a:endParaRPr lang="en-US" noProof="0"/>
          </a:p>
          <a:p>
            <a:pPr lvl="4" rtl="0"/>
            <a:r>
              <a:rPr lang="sv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8429" y="1274841"/>
            <a:ext cx="5546297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pPr lvl="0" rtl="0"/>
            <a:r>
              <a:rPr lang="sv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sv"/>
              <a:t> -</a:t>
            </a:r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8432" y="1598323"/>
            <a:ext cx="4868421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sv"/>
              <a:t>ontent slide with taped headline light gray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8A9BA94-440C-8B8C-B58D-A9211D52447D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1" name="Rectangle 1069">
              <a:extLst>
                <a:ext uri="{FF2B5EF4-FFF2-40B4-BE49-F238E27FC236}">
                  <a16:creationId xmlns:a16="http://schemas.microsoft.com/office/drawing/2014/main" id="{75DE629B-E0AF-8976-DA52-979CC6A47E7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F88B1B9E-9654-E21C-741B-C110D6C6EE7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5851E80A-82BD-D9C4-B8FC-E85E4EDFC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3D5ED7D9-7422-46C1-CD49-198617E83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3A230543-56C6-BF58-E2C2-BE6826770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CCC16CA0-9036-A3EC-169F-D86C69F50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03B88F43-F8FC-94C7-12C2-CCB5A3665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1FAA7795-7203-8147-EEB8-753D0E2E4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221889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en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93144244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9E1C9B5B-FEB8-03A9-B47C-29DF34D39E3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sv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CB54669-939B-3FA7-F373-3490F5E071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3608746"/>
            <a:ext cx="1697682" cy="442035"/>
          </a:xfrm>
          <a:solidFill>
            <a:schemeClr val="accent5"/>
          </a:solidFill>
        </p:spPr>
        <p:txBody>
          <a:bodyPr wrap="none" lIns="108000" tIns="36000" rIns="108000" bIns="36000" rtlCol="0" anchor="ctr">
            <a:spAutoFit/>
          </a:bodyPr>
          <a:lstStyle>
            <a:lvl1pPr rtl="0">
              <a:defRPr sz="2400">
                <a:solidFill>
                  <a:schemeClr val="bg1"/>
                </a:solidFill>
                <a:latin typeface="+mj-lt"/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sv"/>
              <a:t>Content slide</a:t>
            </a:r>
            <a:endParaRPr lang="en-US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D6B6110-3312-1933-4232-657BDD3278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/>
            </a:lvl1pPr>
            <a:lvl5pPr>
              <a:defRPr/>
            </a:lvl5pPr>
          </a:lstStyle>
          <a:p>
            <a:pPr lvl="0" rtl="0"/>
            <a:r>
              <a:rPr lang="sv"/>
              <a:t>Topline, Arial Regular 14 pt</a:t>
            </a:r>
          </a:p>
        </p:txBody>
      </p:sp>
      <p:sp>
        <p:nvSpPr>
          <p:cNvPr id="3" name="Textplatzhalter 8">
            <a:extLst>
              <a:ext uri="{FF2B5EF4-FFF2-40B4-BE49-F238E27FC236}">
                <a16:creationId xmlns:a16="http://schemas.microsoft.com/office/drawing/2014/main" id="{0F7397F6-EFC6-3B46-1C72-37D66AAD62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6700" y="4122781"/>
            <a:ext cx="2403003" cy="442035"/>
          </a:xfrm>
          <a:solidFill>
            <a:schemeClr val="accent5"/>
          </a:solidFill>
        </p:spPr>
        <p:txBody>
          <a:bodyPr wrap="none" lIns="108000" tIns="36000" rIns="108000" bIns="36000" rtlCol="0" anchor="ctr">
            <a:spAutoFit/>
          </a:bodyPr>
          <a:lstStyle>
            <a:lvl1pPr rtl="0">
              <a:defRPr sz="2400">
                <a:solidFill>
                  <a:schemeClr val="bg1"/>
                </a:solidFill>
                <a:latin typeface="+mj-lt"/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sv"/>
              <a:t>with taped headline</a:t>
            </a:r>
          </a:p>
        </p:txBody>
      </p:sp>
      <p:sp>
        <p:nvSpPr>
          <p:cNvPr id="4" name="Textplatzhalter 8">
            <a:extLst>
              <a:ext uri="{FF2B5EF4-FFF2-40B4-BE49-F238E27FC236}">
                <a16:creationId xmlns:a16="http://schemas.microsoft.com/office/drawing/2014/main" id="{D320D940-783E-5D79-8C4C-C9FB64B07E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6700" y="4636816"/>
            <a:ext cx="1471658" cy="442035"/>
          </a:xfrm>
          <a:solidFill>
            <a:schemeClr val="accent5"/>
          </a:solidFill>
        </p:spPr>
        <p:txBody>
          <a:bodyPr wrap="none" lIns="108000" tIns="36000" rIns="108000" bIns="36000" rtlCol="0" anchor="ctr">
            <a:spAutoFit/>
          </a:bodyPr>
          <a:lstStyle>
            <a:lvl1pPr rtl="0">
              <a:defRPr sz="2400">
                <a:solidFill>
                  <a:schemeClr val="bg1"/>
                </a:solidFill>
                <a:latin typeface="+mj-lt"/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sv"/>
              <a:t>and pictur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1744AAC-F57C-6738-8CBD-1F7779E1234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D9832C8C-450F-EC62-2EAE-6B9C1018039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67AFF9F-BE1A-9E06-52E3-3C647085DA1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 rtlCol="0"/>
          <a:lstStyle/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sv"/>
              <a:t> -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C737AFB5-273A-7DE8-D9BA-8C960975833A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3" name="Rectangle 1069">
              <a:extLst>
                <a:ext uri="{FF2B5EF4-FFF2-40B4-BE49-F238E27FC236}">
                  <a16:creationId xmlns:a16="http://schemas.microsoft.com/office/drawing/2014/main" id="{CA845485-93F0-35CD-E860-DFA090A1D9B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4" name="AutoShape 4">
              <a:extLst>
                <a:ext uri="{FF2B5EF4-FFF2-40B4-BE49-F238E27FC236}">
                  <a16:creationId xmlns:a16="http://schemas.microsoft.com/office/drawing/2014/main" id="{5124073B-869A-5610-9BD6-981803AEA22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E83BF81F-785D-F2F3-E6C9-89C60EEEB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FA211514-6FBA-BD52-B709-983A6607D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43F611B3-2E9E-6187-0E58-72F7A6145AA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F9F43F9A-5075-D4F5-D0F1-5DFEB8137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564164AA-FF0D-C53A-CA9C-2E5098F1F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6C068CCB-B79A-3DC1-441F-13F3746AA26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7516033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312121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951CD16A-DB15-09C8-FFCA-54BA906D6A0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sv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827465"/>
            <a:ext cx="7578842" cy="442035"/>
          </a:xfrm>
          <a:solidFill>
            <a:srgbClr val="64A33C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sv"/>
              <a:t>Content slide with taped headline Sustainability, Arial Narrow 24 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 cap="none" baseline="0">
                <a:solidFill>
                  <a:srgbClr val="64A33C"/>
                </a:solidFill>
              </a:defRPr>
            </a:lvl1pPr>
          </a:lstStyle>
          <a:p>
            <a:pPr lvl="0" rtl="0"/>
            <a:r>
              <a:rPr lang="sv"/>
              <a:t>Topline, Arial Regular 14 p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5D8602E-47F3-588C-EBA5-1A646AB50B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8288" y="567780"/>
            <a:ext cx="1080000" cy="0"/>
          </a:xfrm>
          <a:custGeom>
            <a:avLst/>
            <a:gdLst>
              <a:gd name="connsiteX0" fmla="*/ 0 w 1485900"/>
              <a:gd name="connsiteY0" fmla="*/ 0 h 762000"/>
              <a:gd name="connsiteX1" fmla="*/ 1485900 w 1485900"/>
              <a:gd name="connsiteY1" fmla="*/ 0 h 762000"/>
              <a:gd name="connsiteX2" fmla="*/ 1485900 w 1485900"/>
              <a:gd name="connsiteY2" fmla="*/ 762000 h 762000"/>
              <a:gd name="connsiteX3" fmla="*/ 0 w 1485900"/>
              <a:gd name="connsiteY3" fmla="*/ 762000 h 762000"/>
              <a:gd name="connsiteX4" fmla="*/ 0 w 1485900"/>
              <a:gd name="connsiteY4" fmla="*/ 0 h 762000"/>
              <a:gd name="connsiteX0" fmla="*/ 1485900 w 1577340"/>
              <a:gd name="connsiteY0" fmla="*/ 0 h 762000"/>
              <a:gd name="connsiteX1" fmla="*/ 1485900 w 1577340"/>
              <a:gd name="connsiteY1" fmla="*/ 762000 h 762000"/>
              <a:gd name="connsiteX2" fmla="*/ 0 w 1577340"/>
              <a:gd name="connsiteY2" fmla="*/ 762000 h 762000"/>
              <a:gd name="connsiteX3" fmla="*/ 0 w 1577340"/>
              <a:gd name="connsiteY3" fmla="*/ 0 h 762000"/>
              <a:gd name="connsiteX4" fmla="*/ 1577340 w 1577340"/>
              <a:gd name="connsiteY4" fmla="*/ 91440 h 762000"/>
              <a:gd name="connsiteX0" fmla="*/ 1485900 w 1485900"/>
              <a:gd name="connsiteY0" fmla="*/ 0 h 762000"/>
              <a:gd name="connsiteX1" fmla="*/ 1485900 w 1485900"/>
              <a:gd name="connsiteY1" fmla="*/ 762000 h 762000"/>
              <a:gd name="connsiteX2" fmla="*/ 0 w 1485900"/>
              <a:gd name="connsiteY2" fmla="*/ 762000 h 762000"/>
              <a:gd name="connsiteX3" fmla="*/ 0 w 1485900"/>
              <a:gd name="connsiteY3" fmla="*/ 0 h 762000"/>
              <a:gd name="connsiteX0" fmla="*/ 1485900 w 1485900"/>
              <a:gd name="connsiteY0" fmla="*/ 762000 h 762000"/>
              <a:gd name="connsiteX1" fmla="*/ 0 w 1485900"/>
              <a:gd name="connsiteY1" fmla="*/ 762000 h 762000"/>
              <a:gd name="connsiteX2" fmla="*/ 0 w 1485900"/>
              <a:gd name="connsiteY2" fmla="*/ 0 h 762000"/>
              <a:gd name="connsiteX0" fmla="*/ 1485900 w 1485900"/>
              <a:gd name="connsiteY0" fmla="*/ 0 h 0"/>
              <a:gd name="connsiteX1" fmla="*/ 0 w 14859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485900">
                <a:moveTo>
                  <a:pt x="1485900" y="0"/>
                </a:moveTo>
                <a:lnTo>
                  <a:pt x="0" y="0"/>
                </a:lnTo>
              </a:path>
            </a:pathLst>
          </a:custGeom>
          <a:ln w="19050">
            <a:solidFill>
              <a:srgbClr val="64A33C"/>
            </a:solidFill>
          </a:ln>
        </p:spPr>
        <p:txBody>
          <a:bodyPr rtlCol="0">
            <a:normAutofit/>
          </a:bodyPr>
          <a:lstStyle>
            <a:lvl1pPr>
              <a:defRPr sz="100"/>
            </a:lvl1pPr>
          </a:lstStyle>
          <a:p>
            <a:pPr lvl="0" rtl="0"/>
            <a:r>
              <a:rPr lang="sv"/>
              <a:t> 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66DBB3E2-DE3F-972E-48B3-62640757EFF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5190921D-A220-8DD6-AAFE-912BE10DF7C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07183C1C-D69D-0BF3-EC84-1ECF6E51A92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sv"/>
              <a:t> -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812A64C4-5A99-E05A-2C71-37834E228348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4" name="Rectangle 1069">
              <a:extLst>
                <a:ext uri="{FF2B5EF4-FFF2-40B4-BE49-F238E27FC236}">
                  <a16:creationId xmlns:a16="http://schemas.microsoft.com/office/drawing/2014/main" id="{7B669AD6-3836-3184-D7CC-B1897D8A6A9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5" name="AutoShape 4">
              <a:extLst>
                <a:ext uri="{FF2B5EF4-FFF2-40B4-BE49-F238E27FC236}">
                  <a16:creationId xmlns:a16="http://schemas.microsoft.com/office/drawing/2014/main" id="{C5B66AAB-01D0-B7B8-55C6-8DFE43CA4B1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8F08FA73-DC62-0537-14F8-4CFA075D6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609A24E-84A4-398B-65D1-C384D6ECFC2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F1C707C8-4611-F0C0-8F04-BE8B61F9E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B7366628-B4D6-7DCF-0C50-9778F07E8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32C65417-7365-B524-0B1B-38A3BCE4ED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BEF2555-B70B-323F-1B5E-AC3704A7228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694603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1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picture with taped headline and white box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65910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AutoShape 4">
            <a:extLst>
              <a:ext uri="{FF2B5EF4-FFF2-40B4-BE49-F238E27FC236}">
                <a16:creationId xmlns:a16="http://schemas.microsoft.com/office/drawing/2014/main" id="{4275B8F0-F007-40EC-A0F4-0F0416C6FCF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15" name="AutoShape 4">
            <a:extLst>
              <a:ext uri="{FF2B5EF4-FFF2-40B4-BE49-F238E27FC236}">
                <a16:creationId xmlns:a16="http://schemas.microsoft.com/office/drawing/2014/main" id="{6D65ADA0-BCDB-49B9-A600-CB5C2812878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F2AB175-9BC9-42CC-9E51-6D28E298185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24E7702-4173-4F48-AF29-9C59421F616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sv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sv"/>
              <a:t> -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E8D63A5-320E-E26B-022F-88BE75FBF3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12198350" cy="6858000"/>
          </a:xfrm>
          <a:custGeom>
            <a:avLst/>
            <a:gdLst>
              <a:gd name="connsiteX0" fmla="*/ 6211125 w 12198350"/>
              <a:gd name="connsiteY0" fmla="*/ 6857999 h 6858000"/>
              <a:gd name="connsiteX1" fmla="*/ 12198350 w 12198350"/>
              <a:gd name="connsiteY1" fmla="*/ 6857999 h 6858000"/>
              <a:gd name="connsiteX2" fmla="*/ 12198350 w 12198350"/>
              <a:gd name="connsiteY2" fmla="*/ 6858000 h 6858000"/>
              <a:gd name="connsiteX3" fmla="*/ 6211125 w 12198350"/>
              <a:gd name="connsiteY3" fmla="*/ 6858000 h 6858000"/>
              <a:gd name="connsiteX4" fmla="*/ 10714588 w 12198350"/>
              <a:gd name="connsiteY4" fmla="*/ 263197 h 6858000"/>
              <a:gd name="connsiteX5" fmla="*/ 10714588 w 12198350"/>
              <a:gd name="connsiteY5" fmla="*/ 638831 h 6858000"/>
              <a:gd name="connsiteX6" fmla="*/ 11933140 w 12198350"/>
              <a:gd name="connsiteY6" fmla="*/ 638831 h 6858000"/>
              <a:gd name="connsiteX7" fmla="*/ 11933140 w 12198350"/>
              <a:gd name="connsiteY7" fmla="*/ 263197 h 6858000"/>
              <a:gd name="connsiteX8" fmla="*/ 0 w 12198350"/>
              <a:gd name="connsiteY8" fmla="*/ 0 h 6858000"/>
              <a:gd name="connsiteX9" fmla="*/ 12198350 w 12198350"/>
              <a:gd name="connsiteY9" fmla="*/ 0 h 6858000"/>
              <a:gd name="connsiteX10" fmla="*/ 12198350 w 12198350"/>
              <a:gd name="connsiteY10" fmla="*/ 3600547 h 6858000"/>
              <a:gd name="connsiteX11" fmla="*/ 5653825 w 12198350"/>
              <a:gd name="connsiteY11" fmla="*/ 3600547 h 6858000"/>
              <a:gd name="connsiteX12" fmla="*/ 5653825 w 12198350"/>
              <a:gd name="connsiteY12" fmla="*/ 6353175 h 6858000"/>
              <a:gd name="connsiteX13" fmla="*/ 0 w 12198350"/>
              <a:gd name="connsiteY13" fmla="*/ 63531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8350" h="6858000">
                <a:moveTo>
                  <a:pt x="6211125" y="6857999"/>
                </a:moveTo>
                <a:lnTo>
                  <a:pt x="12198350" y="6857999"/>
                </a:lnTo>
                <a:lnTo>
                  <a:pt x="12198350" y="6858000"/>
                </a:lnTo>
                <a:lnTo>
                  <a:pt x="6211125" y="6858000"/>
                </a:lnTo>
                <a:close/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3600547"/>
                </a:lnTo>
                <a:lnTo>
                  <a:pt x="5653825" y="3600547"/>
                </a:lnTo>
                <a:lnTo>
                  <a:pt x="5653825" y="6353175"/>
                </a:lnTo>
                <a:lnTo>
                  <a:pt x="0" y="6353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sv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9A2A73A-E66E-4BD1-9F49-87B248C8C19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A447554A-7004-452A-B359-9A92353C8747}"/>
              </a:ext>
            </a:extLst>
          </p:cNvPr>
          <p:cNvGrpSpPr/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39" name="Rectangle 1069">
              <a:extLst>
                <a:ext uri="{FF2B5EF4-FFF2-40B4-BE49-F238E27FC236}">
                  <a16:creationId xmlns:a16="http://schemas.microsoft.com/office/drawing/2014/main" id="{F72CD9CC-9F0E-4F1C-A2B8-BB13092F4A0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40" name="AutoShape 4">
              <a:extLst>
                <a:ext uri="{FF2B5EF4-FFF2-40B4-BE49-F238E27FC236}">
                  <a16:creationId xmlns:a16="http://schemas.microsoft.com/office/drawing/2014/main" id="{FC91D32B-D072-41CF-8A5D-9797D61ADCF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7B266785-2FF9-4C19-86F3-E1758AB6B1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E6654076-856E-4CC5-9221-71E66814A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642723F8-486D-4DB0-8993-92774E6A6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00698954-9B67-4B1A-A7E4-9A38C27306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D42B1DAA-5AD5-4FC6-B6ED-8AEAE546A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280FFF07-90CD-4FA8-83BA-8C39C8719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C682E0C-B1BE-4B20-975E-B40F7DFC322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9113" y="423689"/>
            <a:ext cx="2738030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sv"/>
              <a:t>Fullsize picture</a:t>
            </a:r>
          </a:p>
        </p:txBody>
      </p:sp>
      <p:sp>
        <p:nvSpPr>
          <p:cNvPr id="47" name="Textplatzhalter 10">
            <a:extLst>
              <a:ext uri="{FF2B5EF4-FFF2-40B4-BE49-F238E27FC236}">
                <a16:creationId xmlns:a16="http://schemas.microsoft.com/office/drawing/2014/main" id="{F3EA6705-F654-4156-B170-2B1D3B7E074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9113" y="1122390"/>
            <a:ext cx="5911976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sv"/>
              <a:t>with taped headline and white box</a:t>
            </a:r>
          </a:p>
        </p:txBody>
      </p:sp>
      <p:sp>
        <p:nvSpPr>
          <p:cNvPr id="48" name="Textplatzhalter 10">
            <a:extLst>
              <a:ext uri="{FF2B5EF4-FFF2-40B4-BE49-F238E27FC236}">
                <a16:creationId xmlns:a16="http://schemas.microsoft.com/office/drawing/2014/main" id="{C632BAF7-1F32-42F7-AEEB-80CDCFA2AF5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9113" y="1821091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sv"/>
              <a:t>Arial Narrow 36 pt</a:t>
            </a:r>
            <a:endParaRPr lang="en-GB"/>
          </a:p>
        </p:txBody>
      </p:sp>
      <p:sp>
        <p:nvSpPr>
          <p:cNvPr id="49" name="Textplatzhalter 10">
            <a:extLst>
              <a:ext uri="{FF2B5EF4-FFF2-40B4-BE49-F238E27FC236}">
                <a16:creationId xmlns:a16="http://schemas.microsoft.com/office/drawing/2014/main" id="{CF627B6D-F8FD-450F-AE50-0B5CA1E520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27738" y="3875994"/>
            <a:ext cx="5905402" cy="1415772"/>
          </a:xfrm>
        </p:spPr>
        <p:txBody>
          <a:bodyPr rtlCol="0">
            <a:spAutoFit/>
          </a:bodyPr>
          <a:lstStyle>
            <a:lvl1pPr marL="0" indent="0" rtl="0">
              <a:buNone/>
              <a:defRPr sz="1400" b="1"/>
            </a:lvl1pPr>
            <a:lvl2pPr marL="0" indent="0" rtl="0">
              <a:buNone/>
              <a:defRPr sz="1400"/>
            </a:lvl2pPr>
            <a:lvl3pPr marL="180975" indent="-180975" rtl="0">
              <a:defRPr sz="1400"/>
            </a:lvl3pPr>
            <a:lvl4pPr marL="357188" indent="-177800" rtl="0">
              <a:defRPr sz="1400"/>
            </a:lvl4pPr>
            <a:lvl5pPr marL="536575" indent="-180975" defTabSz="893763" rtl="0">
              <a:defRPr sz="1400"/>
            </a:lvl5pPr>
          </a:lstStyle>
          <a:p>
            <a:pPr lvl="0" rtl="0"/>
            <a:r>
              <a:rPr lang="sv" noProof="0"/>
              <a:t>Content text, Arial Regular 14 pt</a:t>
            </a:r>
            <a:endParaRPr lang="en-GB" noProof="0"/>
          </a:p>
          <a:p>
            <a:pPr lvl="1" rtl="0"/>
            <a:r>
              <a:rPr lang="sv" noProof="0"/>
              <a:t>Content bullet, Arial Regular 14 pt </a:t>
            </a:r>
          </a:p>
          <a:p>
            <a:pPr lvl="2" rtl="0"/>
            <a:r>
              <a:rPr lang="sv" noProof="0"/>
              <a:t>Content bullet</a:t>
            </a:r>
          </a:p>
          <a:p>
            <a:pPr lvl="3" rtl="0"/>
            <a:r>
              <a:rPr lang="sv" noProof="0"/>
              <a:t>Content bullet</a:t>
            </a:r>
          </a:p>
          <a:p>
            <a:pPr lvl="4" rtl="0"/>
            <a:r>
              <a:rPr lang="sv" noProof="0"/>
              <a:t>Content bullet</a:t>
            </a:r>
            <a:endParaRPr lang="en-GB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EA508872-83D0-EF9D-44A0-04BF1C551112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DF949F3-A8FB-6B7B-5FD0-0D28D1AFF621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99767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2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picture with taped headline and right blue box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80381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C87D665F-33FC-2825-DA5A-8EDF26077C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714588 w 12198350"/>
              <a:gd name="connsiteY0" fmla="*/ 263197 h 6354763"/>
              <a:gd name="connsiteX1" fmla="*/ 10714588 w 12198350"/>
              <a:gd name="connsiteY1" fmla="*/ 638831 h 6354763"/>
              <a:gd name="connsiteX2" fmla="*/ 11933140 w 12198350"/>
              <a:gd name="connsiteY2" fmla="*/ 638831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sv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9" name="Textplatzhalter 10">
            <a:extLst>
              <a:ext uri="{FF2B5EF4-FFF2-40B4-BE49-F238E27FC236}">
                <a16:creationId xmlns:a16="http://schemas.microsoft.com/office/drawing/2014/main" id="{CF627B6D-F8FD-450F-AE50-0B5CA1E520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12682" y="4094713"/>
            <a:ext cx="5985668" cy="2250525"/>
          </a:xfrm>
          <a:solidFill>
            <a:schemeClr val="accent5"/>
          </a:solidFill>
        </p:spPr>
        <p:txBody>
          <a:bodyPr lIns="288000" tIns="180000" rIns="288000" bIns="540000" rtlCol="0" anchor="b">
            <a:spAutoFit/>
          </a:bodyPr>
          <a:lstStyle>
            <a:lvl1pPr marL="0" indent="0" rtl="0">
              <a:spcAft>
                <a:spcPts val="600"/>
              </a:spcAft>
              <a:buClr>
                <a:schemeClr val="bg1"/>
              </a:buClr>
              <a:buNone/>
              <a:defRPr sz="1400" b="1">
                <a:solidFill>
                  <a:schemeClr val="bg1"/>
                </a:solidFill>
              </a:defRPr>
            </a:lvl1pPr>
            <a:lvl2pPr marL="0" indent="0" rtl="0">
              <a:buClr>
                <a:schemeClr val="bg1"/>
              </a:buClr>
              <a:buNone/>
              <a:defRPr sz="1400">
                <a:solidFill>
                  <a:schemeClr val="bg1"/>
                </a:solidFill>
              </a:defRPr>
            </a:lvl2pPr>
            <a:lvl3pPr marL="180975" indent="-180975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marL="355600" indent="-177800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 marL="533400" indent="-180975" defTabSz="1257300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sv" noProof="0"/>
              <a:t>Content text, Arial Regular 14 pt</a:t>
            </a:r>
          </a:p>
          <a:p>
            <a:pPr lvl="1" rtl="0"/>
            <a:r>
              <a:rPr lang="sv" noProof="0"/>
              <a:t>Content bullet, Arial Regular 14 pt </a:t>
            </a:r>
          </a:p>
          <a:p>
            <a:pPr lvl="2" rtl="0"/>
            <a:r>
              <a:rPr lang="sv" noProof="0"/>
              <a:t>Content bullet</a:t>
            </a:r>
          </a:p>
          <a:p>
            <a:pPr lvl="3" rtl="0"/>
            <a:r>
              <a:rPr lang="sv" noProof="0"/>
              <a:t>Content bullet</a:t>
            </a:r>
          </a:p>
          <a:p>
            <a:pPr lvl="4" rtl="0"/>
            <a:r>
              <a:rPr lang="sv" noProof="0"/>
              <a:t>Content bullet</a:t>
            </a:r>
            <a:endParaRPr lang="en-GB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DF28AE04-0DCE-D57F-8AB7-D4385648E916}"/>
              </a:ext>
            </a:extLst>
          </p:cNvPr>
          <p:cNvGrpSpPr/>
          <p:nvPr userDrawn="1"/>
        </p:nvGrpSpPr>
        <p:grpSpPr>
          <a:xfrm>
            <a:off x="10741633" y="290242"/>
            <a:ext cx="1164461" cy="321542"/>
            <a:chOff x="10741633" y="290242"/>
            <a:chExt cx="1164461" cy="321542"/>
          </a:xfrm>
        </p:grpSpPr>
        <p:sp>
          <p:nvSpPr>
            <p:cNvPr id="14" name="AutoShape 4">
              <a:extLst>
                <a:ext uri="{FF2B5EF4-FFF2-40B4-BE49-F238E27FC236}">
                  <a16:creationId xmlns:a16="http://schemas.microsoft.com/office/drawing/2014/main" id="{4275B8F0-F007-40EC-A0F4-0F0416C6FCF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15" name="AutoShape 4">
              <a:extLst>
                <a:ext uri="{FF2B5EF4-FFF2-40B4-BE49-F238E27FC236}">
                  <a16:creationId xmlns:a16="http://schemas.microsoft.com/office/drawing/2014/main" id="{6D65ADA0-BCDB-49B9-A600-CB5C2812878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40" name="AutoShape 4">
              <a:extLst>
                <a:ext uri="{FF2B5EF4-FFF2-40B4-BE49-F238E27FC236}">
                  <a16:creationId xmlns:a16="http://schemas.microsoft.com/office/drawing/2014/main" id="{FC91D32B-D072-41CF-8A5D-9797D61ADCF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7B266785-2FF9-4C19-86F3-E1758AB6B1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41633" y="290242"/>
              <a:ext cx="1091118" cy="321542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E6654076-856E-4CC5-9221-71E66814A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9598" y="381129"/>
              <a:ext cx="6865" cy="6880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642723F8-486D-4DB0-8993-92774E6A6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53794" y="401044"/>
              <a:ext cx="96466" cy="36934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00698954-9B67-4B1A-A7E4-9A38C27306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75146" y="370990"/>
              <a:ext cx="35046" cy="35848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D42B1DAA-5AD5-4FC6-B6ED-8AEAE546A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7143" y="468394"/>
              <a:ext cx="76595" cy="73144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280FFF07-90CD-4FA8-83BA-8C39C8719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76230" y="290242"/>
              <a:ext cx="329864" cy="321542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C682E0C-B1BE-4B20-975E-B40F7DFC322E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519113" y="423689"/>
            <a:ext cx="2738030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sv"/>
              <a:t>Fullsize picture</a:t>
            </a:r>
          </a:p>
        </p:txBody>
      </p:sp>
      <p:sp>
        <p:nvSpPr>
          <p:cNvPr id="47" name="Textplatzhalter 10">
            <a:extLst>
              <a:ext uri="{FF2B5EF4-FFF2-40B4-BE49-F238E27FC236}">
                <a16:creationId xmlns:a16="http://schemas.microsoft.com/office/drawing/2014/main" id="{F3EA6705-F654-4156-B170-2B1D3B7E0740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519113" y="1122390"/>
            <a:ext cx="5743661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sv"/>
              <a:t>with taped headline and blue box</a:t>
            </a:r>
          </a:p>
        </p:txBody>
      </p:sp>
      <p:sp>
        <p:nvSpPr>
          <p:cNvPr id="48" name="Textplatzhalter 10">
            <a:extLst>
              <a:ext uri="{FF2B5EF4-FFF2-40B4-BE49-F238E27FC236}">
                <a16:creationId xmlns:a16="http://schemas.microsoft.com/office/drawing/2014/main" id="{C632BAF7-1F32-42F7-AEEB-80CDCFA2AF5A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519113" y="1821091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sv"/>
              <a:t>Arial Narrow 36 pt</a:t>
            </a:r>
            <a:endParaRPr lang="en-GB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EA87C2B-ED5B-212C-5047-9A7F626C987A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31A55DB-8DF8-DD27-67F1-5EB34780DEFF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6A70798-5B5D-082B-03CB-2A9C76FA5DE0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4CD75E5-3C3E-2237-F80D-8CE6C235E16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03E7450-B09A-88EF-8B9B-2539059C2D3F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 rtlCol="0"/>
          <a:lstStyle/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sv"/>
              <a:t> -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20662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10">
          <p15:clr>
            <a:srgbClr val="FBAE40"/>
          </p15:clr>
        </p15:guide>
        <p15:guide id="2" pos="32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picture with taped headline and left blue box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80381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B0C7A94F-04B9-2F6B-877A-DEB0C952137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714588 w 12198350"/>
              <a:gd name="connsiteY0" fmla="*/ 263197 h 6354763"/>
              <a:gd name="connsiteX1" fmla="*/ 10714588 w 12198350"/>
              <a:gd name="connsiteY1" fmla="*/ 638831 h 6354763"/>
              <a:gd name="connsiteX2" fmla="*/ 11933140 w 12198350"/>
              <a:gd name="connsiteY2" fmla="*/ 638831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sv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9" name="Textplatzhalter 10">
            <a:extLst>
              <a:ext uri="{FF2B5EF4-FFF2-40B4-BE49-F238E27FC236}">
                <a16:creationId xmlns:a16="http://schemas.microsoft.com/office/drawing/2014/main" id="{CF627B6D-F8FD-450F-AE50-0B5CA1E520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9113" y="4093125"/>
            <a:ext cx="5508625" cy="2250525"/>
          </a:xfrm>
          <a:solidFill>
            <a:schemeClr val="accent5"/>
          </a:solidFill>
        </p:spPr>
        <p:txBody>
          <a:bodyPr lIns="288000" tIns="180000" rIns="288000" bIns="540000" rtlCol="0" anchor="b">
            <a:spAutoFit/>
          </a:bodyPr>
          <a:lstStyle>
            <a:lvl1pPr marL="0" indent="0" rtl="0">
              <a:spcAft>
                <a:spcPts val="600"/>
              </a:spcAft>
              <a:buClr>
                <a:schemeClr val="bg1"/>
              </a:buClr>
              <a:buNone/>
              <a:defRPr sz="1400" b="1">
                <a:solidFill>
                  <a:schemeClr val="bg1"/>
                </a:solidFill>
              </a:defRPr>
            </a:lvl1pPr>
            <a:lvl2pPr marL="0" indent="0" rtl="0">
              <a:buClr>
                <a:schemeClr val="bg1"/>
              </a:buClr>
              <a:buNone/>
              <a:defRPr sz="1400">
                <a:solidFill>
                  <a:schemeClr val="bg1"/>
                </a:solidFill>
              </a:defRPr>
            </a:lvl2pPr>
            <a:lvl3pPr marL="180975" indent="-180975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marL="355600" indent="-177800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 marL="533400" indent="-180975" defTabSz="1257300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sv" noProof="0"/>
              <a:t>Content text, Arial Regular 14 pt</a:t>
            </a:r>
          </a:p>
          <a:p>
            <a:pPr lvl="1" rtl="0"/>
            <a:r>
              <a:rPr lang="sv" noProof="0"/>
              <a:t>Content bullet, Arial Regular 14 pt </a:t>
            </a:r>
          </a:p>
          <a:p>
            <a:pPr lvl="2" rtl="0"/>
            <a:r>
              <a:rPr lang="sv" noProof="0"/>
              <a:t>Content bullet</a:t>
            </a:r>
          </a:p>
          <a:p>
            <a:pPr lvl="3" rtl="0"/>
            <a:r>
              <a:rPr lang="sv" noProof="0"/>
              <a:t>Content bullet</a:t>
            </a:r>
          </a:p>
          <a:p>
            <a:pPr lvl="4" rtl="0"/>
            <a:r>
              <a:rPr lang="sv" noProof="0"/>
              <a:t>Content bullet</a:t>
            </a:r>
            <a:endParaRPr lang="en-GB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015ACC96-461E-3DF4-4D77-4EC452E789B6}"/>
              </a:ext>
            </a:extLst>
          </p:cNvPr>
          <p:cNvGrpSpPr/>
          <p:nvPr userDrawn="1"/>
        </p:nvGrpSpPr>
        <p:grpSpPr>
          <a:xfrm>
            <a:off x="10741633" y="290242"/>
            <a:ext cx="1164461" cy="321542"/>
            <a:chOff x="10741633" y="290242"/>
            <a:chExt cx="1164461" cy="321542"/>
          </a:xfrm>
        </p:grpSpPr>
        <p:sp>
          <p:nvSpPr>
            <p:cNvPr id="14" name="AutoShape 4">
              <a:extLst>
                <a:ext uri="{FF2B5EF4-FFF2-40B4-BE49-F238E27FC236}">
                  <a16:creationId xmlns:a16="http://schemas.microsoft.com/office/drawing/2014/main" id="{4275B8F0-F007-40EC-A0F4-0F0416C6FCF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15" name="AutoShape 4">
              <a:extLst>
                <a:ext uri="{FF2B5EF4-FFF2-40B4-BE49-F238E27FC236}">
                  <a16:creationId xmlns:a16="http://schemas.microsoft.com/office/drawing/2014/main" id="{6D65ADA0-BCDB-49B9-A600-CB5C2812878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40" name="AutoShape 4">
              <a:extLst>
                <a:ext uri="{FF2B5EF4-FFF2-40B4-BE49-F238E27FC236}">
                  <a16:creationId xmlns:a16="http://schemas.microsoft.com/office/drawing/2014/main" id="{FC91D32B-D072-41CF-8A5D-9797D61ADCF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7B266785-2FF9-4C19-86F3-E1758AB6B1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41633" y="290242"/>
              <a:ext cx="1091118" cy="321542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E6654076-856E-4CC5-9221-71E66814A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9598" y="381129"/>
              <a:ext cx="6865" cy="6880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642723F8-486D-4DB0-8993-92774E6A6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53794" y="401044"/>
              <a:ext cx="96466" cy="36934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00698954-9B67-4B1A-A7E4-9A38C27306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75146" y="370990"/>
              <a:ext cx="35046" cy="35848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D42B1DAA-5AD5-4FC6-B6ED-8AEAE546A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7143" y="468394"/>
              <a:ext cx="76595" cy="73144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280FFF07-90CD-4FA8-83BA-8C39C8719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76230" y="290242"/>
              <a:ext cx="329864" cy="321542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C682E0C-B1BE-4B20-975E-B40F7DFC322E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519113" y="423689"/>
            <a:ext cx="2738030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sv"/>
              <a:t>Fullsize picture</a:t>
            </a:r>
          </a:p>
        </p:txBody>
      </p:sp>
      <p:sp>
        <p:nvSpPr>
          <p:cNvPr id="47" name="Textplatzhalter 10">
            <a:extLst>
              <a:ext uri="{FF2B5EF4-FFF2-40B4-BE49-F238E27FC236}">
                <a16:creationId xmlns:a16="http://schemas.microsoft.com/office/drawing/2014/main" id="{F3EA6705-F654-4156-B170-2B1D3B7E0740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519113" y="1122390"/>
            <a:ext cx="5743661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sv"/>
              <a:t>with taped headline and blue box</a:t>
            </a:r>
          </a:p>
        </p:txBody>
      </p:sp>
      <p:sp>
        <p:nvSpPr>
          <p:cNvPr id="48" name="Textplatzhalter 10">
            <a:extLst>
              <a:ext uri="{FF2B5EF4-FFF2-40B4-BE49-F238E27FC236}">
                <a16:creationId xmlns:a16="http://schemas.microsoft.com/office/drawing/2014/main" id="{C632BAF7-1F32-42F7-AEEB-80CDCFA2AF5A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519113" y="1821091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sv"/>
              <a:t>Arial Narrow 36 pt</a:t>
            </a:r>
            <a:endParaRPr lang="en-GB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161261F1-AB92-E851-FA11-E1472E85A1A6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65B12D1B-C10D-D226-B5F5-C13F6740B46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ACDF957-E800-9230-E235-3B2EE7329623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CCEB01B8-7CD3-3849-0B01-8DACBDEDF7C4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57FE8F5-B880-9DAF-929A-EE2A1A4E7A1F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 rtlCol="0"/>
          <a:lstStyle/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sv"/>
              <a:t> -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24994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2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ize picture with blu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6745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1C4141F1-6704-A2E6-74FA-F9C2EC8B1A9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1"/>
            <a:ext cx="12198350" cy="6354665"/>
          </a:xfrm>
          <a:custGeom>
            <a:avLst/>
            <a:gdLst>
              <a:gd name="connsiteX0" fmla="*/ 10714588 w 12198350"/>
              <a:gd name="connsiteY0" fmla="*/ 263197 h 6354665"/>
              <a:gd name="connsiteX1" fmla="*/ 10714588 w 12198350"/>
              <a:gd name="connsiteY1" fmla="*/ 638831 h 6354665"/>
              <a:gd name="connsiteX2" fmla="*/ 11933140 w 12198350"/>
              <a:gd name="connsiteY2" fmla="*/ 638831 h 6354665"/>
              <a:gd name="connsiteX3" fmla="*/ 11933140 w 12198350"/>
              <a:gd name="connsiteY3" fmla="*/ 263197 h 6354665"/>
              <a:gd name="connsiteX4" fmla="*/ 5283199 w 12198350"/>
              <a:gd name="connsiteY4" fmla="*/ 0 h 6354665"/>
              <a:gd name="connsiteX5" fmla="*/ 12198350 w 12198350"/>
              <a:gd name="connsiteY5" fmla="*/ 0 h 6354665"/>
              <a:gd name="connsiteX6" fmla="*/ 12198350 w 12198350"/>
              <a:gd name="connsiteY6" fmla="*/ 6354665 h 6354665"/>
              <a:gd name="connsiteX7" fmla="*/ 0 w 12198350"/>
              <a:gd name="connsiteY7" fmla="*/ 6354665 h 6354665"/>
              <a:gd name="connsiteX8" fmla="*/ 0 w 12198350"/>
              <a:gd name="connsiteY8" fmla="*/ 3429000 h 6354665"/>
              <a:gd name="connsiteX9" fmla="*/ 5283199 w 12198350"/>
              <a:gd name="connsiteY9" fmla="*/ 3429000 h 6354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6354665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5283199" y="0"/>
                </a:moveTo>
                <a:lnTo>
                  <a:pt x="12198350" y="0"/>
                </a:lnTo>
                <a:lnTo>
                  <a:pt x="12198350" y="6354665"/>
                </a:lnTo>
                <a:lnTo>
                  <a:pt x="0" y="6354665"/>
                </a:lnTo>
                <a:lnTo>
                  <a:pt x="0" y="3429000"/>
                </a:lnTo>
                <a:lnTo>
                  <a:pt x="5283199" y="3429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>
              <a:buNone/>
              <a:defRPr b="0"/>
            </a:lvl1pPr>
          </a:lstStyle>
          <a:p>
            <a:pPr rtl="0"/>
            <a:br>
              <a:rPr lang="en-GB" noProof="0"/>
            </a:br>
            <a:br>
              <a:rPr lang="en-GB" noProof="0"/>
            </a:br>
            <a:br>
              <a:rPr lang="en-GB" noProof="0"/>
            </a:br>
            <a:r>
              <a:rPr lang="sv" noProof="0"/>
              <a:t>Please insert an image</a:t>
            </a:r>
            <a:endParaRPr lang="en-GB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99AB3E9-5D9E-4993-B8A7-CCB02F23F5AA}"/>
              </a:ext>
            </a:extLst>
          </p:cNvPr>
          <p:cNvSpPr/>
          <p:nvPr userDrawn="1"/>
        </p:nvSpPr>
        <p:spPr>
          <a:xfrm>
            <a:off x="0" y="0"/>
            <a:ext cx="5283199" cy="3429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GB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F2AB175-9BC9-42CC-9E51-6D28E298185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pPr rtl="0"/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9A2A73A-E66E-4BD1-9F49-87B248C8C19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pPr rtl="0"/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24E7702-4173-4F48-AF29-9C59421F616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pPr rtl="0"/>
            <a:r>
              <a:rPr lang="sv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sv"/>
              <a:t> -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2" y="401657"/>
            <a:ext cx="4488317" cy="215444"/>
          </a:xfrm>
        </p:spPr>
        <p:txBody>
          <a:bodyPr wrap="square" rtlCol="0">
            <a:spAutoFit/>
          </a:bodyPr>
          <a:lstStyle>
            <a:lvl1pPr marL="0" indent="0" rtl="0">
              <a:buNone/>
              <a:defRPr sz="1400" b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sv" noProof="0"/>
              <a:t>Subheading, Arial Regular 14 pt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E4D8FE1F-DDE4-4C98-9823-293BA316B7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3876" y="1268413"/>
            <a:ext cx="4488317" cy="1661993"/>
          </a:xfrm>
        </p:spPr>
        <p:txBody>
          <a:bodyPr wrap="square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sv"/>
              <a:t>Fullsize picture</a:t>
            </a:r>
            <a:br>
              <a:rPr lang="en-GB"/>
            </a:br>
            <a:r>
              <a:rPr lang="sv"/>
              <a:t>with blue box</a:t>
            </a:r>
            <a:br>
              <a:rPr lang="en-GB"/>
            </a:br>
            <a:r>
              <a:rPr lang="sv"/>
              <a:t>Arial Narrow 36 pt</a:t>
            </a:r>
            <a:endParaRPr lang="en-GB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D795622-E015-81FD-4657-F99A9F216491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743E6EF-79E5-27CB-D0BE-CB02A59215E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19968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>
          <p15:clr>
            <a:srgbClr val="FBAE40"/>
          </p15:clr>
        </p15:guide>
        <p15:guide id="4" pos="3162">
          <p15:clr>
            <a:srgbClr val="FBAE40"/>
          </p15:clr>
        </p15:guide>
        <p15:guide id="5" pos="32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and blue box right with key mess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51447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FAD2A4E0-9DC2-4537-9EFF-E40EEEE8AF2E}"/>
              </a:ext>
            </a:extLst>
          </p:cNvPr>
          <p:cNvSpPr/>
          <p:nvPr userDrawn="1"/>
        </p:nvSpPr>
        <p:spPr>
          <a:xfrm>
            <a:off x="1" y="0"/>
            <a:ext cx="12198350" cy="6345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GB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45313" cy="6345238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sv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sv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sv"/>
              <a:t> -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75550" y="1268413"/>
            <a:ext cx="4357590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sv"/>
              <a:t>Picture and </a:t>
            </a:r>
            <a:br>
              <a:rPr lang="en-GB"/>
            </a:br>
            <a:r>
              <a:rPr lang="sv"/>
              <a:t>blue box right </a:t>
            </a:r>
            <a:br>
              <a:rPr lang="en-GB"/>
            </a:br>
            <a:r>
              <a:rPr lang="sv"/>
              <a:t>with key message,</a:t>
            </a:r>
            <a:br>
              <a:rPr lang="en-GB"/>
            </a:br>
            <a:r>
              <a:rPr lang="sv"/>
              <a:t>Arial Narrow 36 pt</a:t>
            </a:r>
            <a:endParaRPr lang="en-GB"/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4275B8F0-F007-40EC-A0F4-0F0416C6FCF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81824780-E074-48FD-84AE-FBB70892ED11}"/>
              </a:ext>
            </a:extLst>
          </p:cNvPr>
          <p:cNvGrpSpPr/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7" name="Rectangle 1069">
              <a:extLst>
                <a:ext uri="{FF2B5EF4-FFF2-40B4-BE49-F238E27FC236}">
                  <a16:creationId xmlns:a16="http://schemas.microsoft.com/office/drawing/2014/main" id="{DAD2F976-6390-43A3-992D-0C4E977B342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18" name="AutoShape 4">
              <a:extLst>
                <a:ext uri="{FF2B5EF4-FFF2-40B4-BE49-F238E27FC236}">
                  <a16:creationId xmlns:a16="http://schemas.microsoft.com/office/drawing/2014/main" id="{4D508606-2E7E-4D5A-B74A-257ED018024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C20B8681-153E-4109-9AAF-BBFB86F403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37CE3F55-12AF-46EA-967E-38DFA9B49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0EB7D44F-154D-4F0E-B256-48D841FAC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2348742C-09F9-41E3-9A3D-324DC2AC6E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F8A725D7-8088-49EF-8D2D-A5101CB47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503F6A22-3145-4AF1-A999-BB44E812B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2" name="Rechteck 1">
            <a:extLst>
              <a:ext uri="{FF2B5EF4-FFF2-40B4-BE49-F238E27FC236}">
                <a16:creationId xmlns:a16="http://schemas.microsoft.com/office/drawing/2014/main" id="{550D0173-34FA-6910-53C4-8AD9C7606C8D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97673B2-CB5C-758B-9A87-5E3D7ADC9C4A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FF1D05A-2352-E7CD-4728-A38962F7D9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75550" y="3716338"/>
            <a:ext cx="4357590" cy="1092607"/>
          </a:xfrm>
        </p:spPr>
        <p:txBody>
          <a:bodyPr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sv"/>
              <a:t>Content text, Arial Regular 14 pt</a:t>
            </a:r>
            <a:endParaRPr lang="de-DE"/>
          </a:p>
          <a:p>
            <a:pPr lvl="1" rtl="0"/>
            <a:r>
              <a:rPr lang="sv"/>
              <a:t>Content bullet</a:t>
            </a:r>
            <a:endParaRPr lang="de-DE"/>
          </a:p>
          <a:p>
            <a:pPr lvl="2" rtl="0"/>
            <a:r>
              <a:rPr lang="sv"/>
              <a:t>Content bullet</a:t>
            </a:r>
            <a:endParaRPr lang="de-DE"/>
          </a:p>
          <a:p>
            <a:pPr lvl="3" rtl="0"/>
            <a:r>
              <a:rPr lang="sv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21054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477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with blue and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79378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" y="0"/>
            <a:ext cx="6945309" cy="6345238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sv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45313" y="0"/>
            <a:ext cx="5253036" cy="343080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sv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69297" y="520020"/>
            <a:ext cx="4357590" cy="1661993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sv"/>
              <a:t>Picture with blue </a:t>
            </a:r>
            <a:br>
              <a:rPr lang="en-GB"/>
            </a:br>
            <a:r>
              <a:rPr lang="sv"/>
              <a:t>and white box right,</a:t>
            </a:r>
            <a:br>
              <a:rPr lang="en-GB"/>
            </a:br>
            <a:r>
              <a:rPr lang="sv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sv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sv"/>
              <a:t> 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A79E30F1-9E85-CAAE-C34B-B3A27FD9E6C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75550" y="3716338"/>
            <a:ext cx="4357590" cy="1092607"/>
          </a:xfrm>
        </p:spPr>
        <p:txBody>
          <a:bodyPr rtlCol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</a:lstStyle>
          <a:p>
            <a:pPr lvl="0" rtl="0"/>
            <a:r>
              <a:rPr lang="sv"/>
              <a:t>Content text, Arial Regular 14 pt</a:t>
            </a:r>
            <a:endParaRPr lang="de-DE"/>
          </a:p>
          <a:p>
            <a:pPr lvl="1" rtl="0"/>
            <a:r>
              <a:rPr lang="sv"/>
              <a:t>Content bullet</a:t>
            </a:r>
            <a:endParaRPr lang="de-DE"/>
          </a:p>
          <a:p>
            <a:pPr lvl="2" rtl="0"/>
            <a:r>
              <a:rPr lang="sv"/>
              <a:t>Content bullet</a:t>
            </a:r>
            <a:endParaRPr lang="de-DE"/>
          </a:p>
          <a:p>
            <a:pPr lvl="3" rtl="0"/>
            <a:r>
              <a:rPr lang="sv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86524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4772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728598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C51CA050-1C50-83CB-0901-A001DC62CE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215479 w 12198350"/>
              <a:gd name="connsiteY0" fmla="*/ 263197 h 6354763"/>
              <a:gd name="connsiteX1" fmla="*/ 10215479 w 12198350"/>
              <a:gd name="connsiteY1" fmla="*/ 792687 h 6354763"/>
              <a:gd name="connsiteX2" fmla="*/ 11933140 w 12198350"/>
              <a:gd name="connsiteY2" fmla="*/ 792687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sv"/>
              <a:t>Please insert an image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endParaRPr lang="en-GB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5884669"/>
            <a:ext cx="11414027" cy="246221"/>
          </a:xfrm>
        </p:spPr>
        <p:txBody>
          <a:bodyPr rtlCol="0">
            <a:noAutofit/>
          </a:bodyPr>
          <a:lstStyle>
            <a:lvl1pPr marL="0" indent="0" rtl="0"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 rtl="0"/>
            <a:r>
              <a:rPr lang="sv" noProof="0"/>
              <a:t>Subheading, Arial Regular 16 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4508701"/>
            <a:ext cx="11414027" cy="1052596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 rtl="0">
              <a:lnSpc>
                <a:spcPct val="95000"/>
              </a:lnSpc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rtl="0">
              <a:lnSpc>
                <a:spcPct val="95000"/>
              </a:lnSpc>
            </a:pPr>
            <a:r>
              <a:rPr lang="sv" noProof="0"/>
              <a:t>Title slide dark text, max. 2 lines,</a:t>
            </a:r>
            <a:br>
              <a:rPr lang="en-GB" noProof="0"/>
            </a:br>
            <a:r>
              <a:rPr lang="sv" noProof="0"/>
              <a:t>Arial Narrow 36 pt</a:t>
            </a:r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2D76B4F-B453-4AD2-96C5-A617375BB8CE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55" name="Rectangle 1069">
              <a:extLst>
                <a:ext uri="{FF2B5EF4-FFF2-40B4-BE49-F238E27FC236}">
                  <a16:creationId xmlns:a16="http://schemas.microsoft.com/office/drawing/2014/main" id="{77406A79-67EA-4712-AB12-F8A3854A83F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56" name="AutoShape 4">
              <a:extLst>
                <a:ext uri="{FF2B5EF4-FFF2-40B4-BE49-F238E27FC236}">
                  <a16:creationId xmlns:a16="http://schemas.microsoft.com/office/drawing/2014/main" id="{317B0D42-B4C7-4308-AFB3-4310F4E2E06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57A0D84F-9200-4AC6-A2B8-F8A44DC707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AEEEED60-B5C4-4BB7-AE7B-B93F5E548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B7BE1049-AAD1-4AA1-B68D-FFCC6CCB5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ABB86660-6993-40AB-B11C-F5D2BCE8CD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A3AB8BF3-FCC7-4CFC-95F3-D21B97B0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3FF7A0FB-60A6-41A8-B91F-A0A661983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65" name="AutoShape 4">
            <a:extLst>
              <a:ext uri="{FF2B5EF4-FFF2-40B4-BE49-F238E27FC236}">
                <a16:creationId xmlns:a16="http://schemas.microsoft.com/office/drawing/2014/main" id="{51B3BA47-4FE8-4AE6-9440-41D3D1DEB46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008891" y="1882470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8D6CB2C-8F7F-7154-BDE8-72F412D677BE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669119A-BCAE-56C0-497E-E18202D63CE3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64284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 with blue and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79378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83196" y="0"/>
            <a:ext cx="6915154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sv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5283196" cy="343080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sv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875" y="520020"/>
            <a:ext cx="4387849" cy="1661993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sv"/>
              <a:t>Picture with blue </a:t>
            </a:r>
            <a:br>
              <a:rPr lang="en-GB"/>
            </a:br>
            <a:r>
              <a:rPr lang="sv"/>
              <a:t>and white box left,</a:t>
            </a:r>
            <a:br>
              <a:rPr lang="en-GB"/>
            </a:br>
            <a:r>
              <a:rPr lang="sv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sv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sv"/>
              <a:t> </a:t>
            </a:r>
          </a:p>
        </p:txBody>
      </p:sp>
      <p:sp>
        <p:nvSpPr>
          <p:cNvPr id="5" name="Textplatzhalter 10">
            <a:extLst>
              <a:ext uri="{FF2B5EF4-FFF2-40B4-BE49-F238E27FC236}">
                <a16:creationId xmlns:a16="http://schemas.microsoft.com/office/drawing/2014/main" id="{FAD29D32-25C8-8F96-9444-97BF0683A11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5" y="3716338"/>
            <a:ext cx="4357590" cy="1092607"/>
          </a:xfrm>
        </p:spPr>
        <p:txBody>
          <a:bodyPr rtlCol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</a:lstStyle>
          <a:p>
            <a:pPr lvl="0" rtl="0"/>
            <a:r>
              <a:rPr lang="sv"/>
              <a:t>Content text, Arial Regular 14 pt</a:t>
            </a:r>
            <a:endParaRPr lang="de-DE"/>
          </a:p>
          <a:p>
            <a:pPr lvl="1" rtl="0"/>
            <a:r>
              <a:rPr lang="sv"/>
              <a:t>Content bullet</a:t>
            </a:r>
            <a:endParaRPr lang="de-DE"/>
          </a:p>
          <a:p>
            <a:pPr lvl="2" rtl="0"/>
            <a:r>
              <a:rPr lang="sv"/>
              <a:t>Content bullet</a:t>
            </a:r>
            <a:endParaRPr lang="de-DE"/>
          </a:p>
          <a:p>
            <a:pPr lvl="3" rtl="0"/>
            <a:r>
              <a:rPr lang="sv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80457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4772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blue box lef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79378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83196" y="0"/>
            <a:ext cx="6915154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sv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5283196" cy="634365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sv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876" y="1268413"/>
            <a:ext cx="4357590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sv"/>
              <a:t>Picture and </a:t>
            </a:r>
            <a:br>
              <a:rPr lang="en-GB"/>
            </a:br>
            <a:r>
              <a:rPr lang="sv"/>
              <a:t>blue box left </a:t>
            </a:r>
            <a:br>
              <a:rPr lang="en-GB"/>
            </a:br>
            <a:r>
              <a:rPr lang="sv"/>
              <a:t>with key message,</a:t>
            </a:r>
            <a:br>
              <a:rPr lang="en-GB"/>
            </a:br>
            <a:r>
              <a:rPr lang="sv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sv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sv"/>
              <a:t> 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F3B7C52C-F2C5-38E1-7072-1BD2A276989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6" y="3716338"/>
            <a:ext cx="4357590" cy="1092607"/>
          </a:xfrm>
        </p:spPr>
        <p:txBody>
          <a:bodyPr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sv"/>
              <a:t>Content text, Arial Regular 14 pt</a:t>
            </a:r>
            <a:endParaRPr lang="de-DE"/>
          </a:p>
          <a:p>
            <a:pPr lvl="1" rtl="0"/>
            <a:r>
              <a:rPr lang="sv"/>
              <a:t>Content bullet</a:t>
            </a:r>
            <a:endParaRPr lang="de-DE"/>
          </a:p>
          <a:p>
            <a:pPr lvl="2" rtl="0"/>
            <a:r>
              <a:rPr lang="sv"/>
              <a:t>Content bullet</a:t>
            </a:r>
            <a:endParaRPr lang="de-DE"/>
          </a:p>
          <a:p>
            <a:pPr lvl="3" rtl="0"/>
            <a:r>
              <a:rPr lang="sv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07645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309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ox left with key mess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91503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310CCF19-7E25-FEC2-D1E6-A51C461D671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5283196" cy="634365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sv"/>
              <a:t> 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83F48B45-5EBA-3316-49A1-282362F6ABA2}"/>
              </a:ext>
            </a:extLst>
          </p:cNvPr>
          <p:cNvSpPr/>
          <p:nvPr userDrawn="1"/>
        </p:nvSpPr>
        <p:spPr bwMode="ltGray">
          <a:xfrm>
            <a:off x="0" y="6430617"/>
            <a:ext cx="12198350" cy="1641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GB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>
                <a:solidFill>
                  <a:srgbClr val="5E5E5E"/>
                </a:solidFill>
              </a:defRPr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t">
            <a:noAutofit/>
          </a:bodyPr>
          <a:lstStyle>
            <a:lvl1pPr>
              <a:defRPr lang="en-GB" smtClean="0"/>
            </a:lvl1pPr>
          </a:lstStyle>
          <a:p>
            <a:pPr rtl="0"/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>
                <a:solidFill>
                  <a:srgbClr val="5E5E5E"/>
                </a:solidFill>
              </a:defRPr>
            </a:lvl1pPr>
          </a:lstStyle>
          <a:p>
            <a:pPr rtl="0"/>
            <a:r>
              <a:rPr lang="sv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sv"/>
              <a:t> -</a:t>
            </a:r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4275B8F0-F007-40EC-A0F4-0F0416C6FCF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81824780-E074-48FD-84AE-FBB70892ED11}"/>
              </a:ext>
            </a:extLst>
          </p:cNvPr>
          <p:cNvGrpSpPr/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7" name="Rectangle 1069">
              <a:extLst>
                <a:ext uri="{FF2B5EF4-FFF2-40B4-BE49-F238E27FC236}">
                  <a16:creationId xmlns:a16="http://schemas.microsoft.com/office/drawing/2014/main" id="{DAD2F976-6390-43A3-992D-0C4E977B342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18" name="AutoShape 4">
              <a:extLst>
                <a:ext uri="{FF2B5EF4-FFF2-40B4-BE49-F238E27FC236}">
                  <a16:creationId xmlns:a16="http://schemas.microsoft.com/office/drawing/2014/main" id="{4D508606-2E7E-4D5A-B74A-257ED018024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C20B8681-153E-4109-9AAF-BBFB86F403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37CE3F55-12AF-46EA-967E-38DFA9B49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0EB7D44F-154D-4F0E-B256-48D841FAC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2348742C-09F9-41E3-9A3D-324DC2AC6E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F8A725D7-8088-49EF-8D2D-A5101CB47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503F6A22-3145-4AF1-A999-BB44E812B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46" name="Textplatzhalter 7">
            <a:extLst>
              <a:ext uri="{FF2B5EF4-FFF2-40B4-BE49-F238E27FC236}">
                <a16:creationId xmlns:a16="http://schemas.microsoft.com/office/drawing/2014/main" id="{F3DC000E-7D93-497E-B634-C51CB6A705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3876" y="1268413"/>
            <a:ext cx="4488317" cy="1661993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sv"/>
              <a:t>Blue box left </a:t>
            </a:r>
            <a:br>
              <a:rPr lang="en-GB"/>
            </a:br>
            <a:r>
              <a:rPr lang="sv"/>
              <a:t>with key message </a:t>
            </a:r>
            <a:br>
              <a:rPr lang="en-GB"/>
            </a:br>
            <a:r>
              <a:rPr lang="sv"/>
              <a:t>Arial Narrow 36 pt</a:t>
            </a:r>
            <a:endParaRPr lang="en-GB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6864A25C-1096-4FCF-80CF-8A40CF70302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522913" y="1270000"/>
            <a:ext cx="6410325" cy="5075238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sv" noProof="0"/>
              <a:t>Content text, Arial Regular 14 pt</a:t>
            </a:r>
            <a:endParaRPr lang="en-GB" noProof="0"/>
          </a:p>
          <a:p>
            <a:pPr lvl="1" rtl="0"/>
            <a:r>
              <a:rPr lang="sv" noProof="0"/>
              <a:t>Content bullet, Arial Regular 14 pt </a:t>
            </a:r>
          </a:p>
          <a:p>
            <a:pPr lvl="2" rtl="0"/>
            <a:r>
              <a:rPr lang="sv" noProof="0"/>
              <a:t>Content bullet</a:t>
            </a:r>
          </a:p>
          <a:p>
            <a:pPr lvl="3" rtl="0"/>
            <a:r>
              <a:rPr lang="sv" noProof="0"/>
              <a:t>Content bullet</a:t>
            </a:r>
          </a:p>
          <a:p>
            <a:pPr lvl="4" rtl="0"/>
            <a:r>
              <a:rPr lang="sv" noProof="0"/>
              <a:t>Content bullet</a:t>
            </a:r>
            <a:endParaRPr lang="en-GB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0EA18A9-8539-90F4-F18A-B4B377A72874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54EB82E-A812-7CB2-39BE-B1E1C6FA833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884EFA23-2A00-96C7-81FA-A904AA2FC79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6" y="3716338"/>
            <a:ext cx="4357590" cy="1092607"/>
          </a:xfrm>
        </p:spPr>
        <p:txBody>
          <a:bodyPr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sv"/>
              <a:t>Content text, Arial Regular 14 pt</a:t>
            </a:r>
            <a:endParaRPr lang="de-DE"/>
          </a:p>
          <a:p>
            <a:pPr lvl="1" rtl="0"/>
            <a:r>
              <a:rPr lang="sv"/>
              <a:t>Content bullet</a:t>
            </a:r>
            <a:endParaRPr lang="de-DE"/>
          </a:p>
          <a:p>
            <a:pPr lvl="2" rtl="0"/>
            <a:r>
              <a:rPr lang="sv"/>
              <a:t>Content bullet</a:t>
            </a:r>
            <a:endParaRPr lang="de-DE"/>
          </a:p>
          <a:p>
            <a:pPr lvl="3" rtl="0"/>
            <a:r>
              <a:rPr lang="sv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37815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2">
          <p15:clr>
            <a:srgbClr val="FBAE40"/>
          </p15:clr>
        </p15:guide>
        <p15:guide id="2" pos="3479">
          <p15:clr>
            <a:srgbClr val="FBAE40"/>
          </p15:clr>
        </p15:guide>
        <p15:guide id="3" pos="327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and blue box righ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30824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AD367AD0-ED13-663C-8002-507EF8641B58}"/>
              </a:ext>
            </a:extLst>
          </p:cNvPr>
          <p:cNvSpPr>
            <a:spLocks noGrp="1"/>
          </p:cNvSpPr>
          <p:nvPr>
            <p:ph type="media" sz="quarter" idx="21" hasCustomPrompt="1"/>
          </p:nvPr>
        </p:nvSpPr>
        <p:spPr>
          <a:xfrm>
            <a:off x="0" y="448"/>
            <a:ext cx="8201025" cy="6343200"/>
          </a:xfrm>
          <a:prstGeom prst="rect">
            <a:avLst/>
          </a:prstGeom>
          <a:solidFill>
            <a:schemeClr val="bg2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None/>
              <a:defRPr b="0"/>
            </a:lvl1pPr>
          </a:lstStyle>
          <a:p>
            <a:pPr rtl="0"/>
            <a:r>
              <a:rPr lang="sv" noProof="0"/>
              <a:t>Please insert a video</a:t>
            </a:r>
          </a:p>
          <a:p>
            <a:pPr rtl="0"/>
            <a:endParaRPr lang="en-GB" noProof="0"/>
          </a:p>
          <a:p>
            <a:pPr rtl="0"/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0800" y="-2"/>
            <a:ext cx="3997550" cy="6343650"/>
          </a:xfrm>
          <a:prstGeom prst="rect">
            <a:avLst/>
          </a:prstGeo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sv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3612" y="1268413"/>
            <a:ext cx="3349527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sv"/>
              <a:t>Picture and </a:t>
            </a:r>
            <a:br>
              <a:rPr lang="en-GB"/>
            </a:br>
            <a:r>
              <a:rPr lang="sv"/>
              <a:t>blue box right </a:t>
            </a:r>
            <a:br>
              <a:rPr lang="en-GB"/>
            </a:br>
            <a:r>
              <a:rPr lang="sv"/>
              <a:t>with key message,</a:t>
            </a:r>
            <a:br>
              <a:rPr lang="en-GB"/>
            </a:br>
            <a:r>
              <a:rPr lang="sv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sv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sv"/>
              <a:t> </a:t>
            </a:r>
          </a:p>
        </p:txBody>
      </p:sp>
      <p:sp>
        <p:nvSpPr>
          <p:cNvPr id="5" name="Textplatzhalter 10">
            <a:extLst>
              <a:ext uri="{FF2B5EF4-FFF2-40B4-BE49-F238E27FC236}">
                <a16:creationId xmlns:a16="http://schemas.microsoft.com/office/drawing/2014/main" id="{7D806616-1399-0E38-148C-529768A41A0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83611" y="4300012"/>
            <a:ext cx="3349528" cy="1092607"/>
          </a:xfrm>
        </p:spPr>
        <p:txBody>
          <a:bodyPr wrap="square"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sv"/>
              <a:t>Content text, Arial Regular 14 pt</a:t>
            </a:r>
            <a:endParaRPr lang="de-DE"/>
          </a:p>
          <a:p>
            <a:pPr lvl="1" rtl="0"/>
            <a:r>
              <a:rPr lang="sv"/>
              <a:t>Content bullet</a:t>
            </a:r>
            <a:endParaRPr lang="de-DE"/>
          </a:p>
          <a:p>
            <a:pPr lvl="2" rtl="0"/>
            <a:r>
              <a:rPr lang="sv"/>
              <a:t>Content bullet</a:t>
            </a:r>
            <a:endParaRPr lang="de-DE"/>
          </a:p>
          <a:p>
            <a:pPr lvl="3" rtl="0"/>
            <a:r>
              <a:rPr lang="sv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270485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blue box righ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30020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0800" y="0"/>
            <a:ext cx="3997550" cy="634365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sv"/>
              <a:t>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8200797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spcBef>
                <a:spcPts val="0"/>
              </a:spcBef>
              <a:buNone/>
              <a:defRPr b="0"/>
            </a:lvl1pPr>
          </a:lstStyle>
          <a:p>
            <a:pPr rtl="0"/>
            <a:r>
              <a:rPr lang="sv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3612" y="1268413"/>
            <a:ext cx="3349527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sv"/>
              <a:t>Picture and </a:t>
            </a:r>
            <a:br>
              <a:rPr lang="en-GB"/>
            </a:br>
            <a:r>
              <a:rPr lang="sv"/>
              <a:t>blue box right </a:t>
            </a:r>
            <a:br>
              <a:rPr lang="en-GB"/>
            </a:br>
            <a:r>
              <a:rPr lang="sv"/>
              <a:t>with key message,</a:t>
            </a:r>
            <a:br>
              <a:rPr lang="en-GB"/>
            </a:br>
            <a:r>
              <a:rPr lang="sv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sv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sv"/>
              <a:t> 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054D841B-1234-79EF-4222-5D4F102DC3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83611" y="4300012"/>
            <a:ext cx="3349528" cy="1092607"/>
          </a:xfrm>
        </p:spPr>
        <p:txBody>
          <a:bodyPr wrap="square"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sv"/>
              <a:t>Content text, Arial Regular 14 pt</a:t>
            </a:r>
            <a:endParaRPr lang="de-DE"/>
          </a:p>
          <a:p>
            <a:pPr lvl="1" rtl="0"/>
            <a:r>
              <a:rPr lang="sv"/>
              <a:t>Content bullet</a:t>
            </a:r>
            <a:endParaRPr lang="de-DE"/>
          </a:p>
          <a:p>
            <a:pPr lvl="2" rtl="0"/>
            <a:r>
              <a:rPr lang="sv"/>
              <a:t>Content bullet</a:t>
            </a:r>
            <a:endParaRPr lang="de-DE"/>
          </a:p>
          <a:p>
            <a:pPr lvl="3" rtl="0"/>
            <a:r>
              <a:rPr lang="sv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1122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and blue box lef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30824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AD367AD0-ED13-663C-8002-507EF8641B58}"/>
              </a:ext>
            </a:extLst>
          </p:cNvPr>
          <p:cNvSpPr>
            <a:spLocks noGrp="1"/>
          </p:cNvSpPr>
          <p:nvPr>
            <p:ph type="media" sz="quarter" idx="21" hasCustomPrompt="1"/>
          </p:nvPr>
        </p:nvSpPr>
        <p:spPr>
          <a:xfrm>
            <a:off x="3997325" y="0"/>
            <a:ext cx="8201025" cy="6343200"/>
          </a:xfrm>
          <a:solidFill>
            <a:schemeClr val="bg2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None/>
              <a:defRPr b="0"/>
            </a:lvl1pPr>
          </a:lstStyle>
          <a:p>
            <a:pPr rtl="0"/>
            <a:r>
              <a:rPr lang="sv" noProof="0"/>
              <a:t>Please insert a video</a:t>
            </a:r>
          </a:p>
          <a:p>
            <a:pPr rtl="0"/>
            <a:endParaRPr lang="en-GB" noProof="0"/>
          </a:p>
          <a:p>
            <a:pPr rtl="0"/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3997550" cy="634365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sv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876" y="1268413"/>
            <a:ext cx="3349527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sv"/>
              <a:t>Picture and </a:t>
            </a:r>
            <a:br>
              <a:rPr lang="en-GB"/>
            </a:br>
            <a:r>
              <a:rPr lang="sv"/>
              <a:t>blue box left </a:t>
            </a:r>
            <a:br>
              <a:rPr lang="en-GB"/>
            </a:br>
            <a:r>
              <a:rPr lang="sv"/>
              <a:t>with key message,</a:t>
            </a:r>
            <a:br>
              <a:rPr lang="en-GB"/>
            </a:br>
            <a:r>
              <a:rPr lang="sv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sv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sv"/>
              <a:t> </a:t>
            </a:r>
          </a:p>
        </p:txBody>
      </p:sp>
      <p:sp>
        <p:nvSpPr>
          <p:cNvPr id="5" name="Textplatzhalter 10">
            <a:extLst>
              <a:ext uri="{FF2B5EF4-FFF2-40B4-BE49-F238E27FC236}">
                <a16:creationId xmlns:a16="http://schemas.microsoft.com/office/drawing/2014/main" id="{E86E1A8C-1EFE-47A7-A2F6-E5C655A062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6" y="4300012"/>
            <a:ext cx="3349528" cy="1092607"/>
          </a:xfrm>
        </p:spPr>
        <p:txBody>
          <a:bodyPr wrap="square"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sv"/>
              <a:t>Content text, Arial Regular 14 pt</a:t>
            </a:r>
            <a:endParaRPr lang="de-DE"/>
          </a:p>
          <a:p>
            <a:pPr lvl="1" rtl="0"/>
            <a:r>
              <a:rPr lang="sv"/>
              <a:t>Content bullet</a:t>
            </a:r>
            <a:endParaRPr lang="de-DE"/>
          </a:p>
          <a:p>
            <a:pPr lvl="2" rtl="0"/>
            <a:r>
              <a:rPr lang="sv"/>
              <a:t>Content bullet</a:t>
            </a:r>
            <a:endParaRPr lang="de-DE"/>
          </a:p>
          <a:p>
            <a:pPr lvl="3" rtl="0"/>
            <a:r>
              <a:rPr lang="sv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54556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blue box lef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478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997553" y="0"/>
            <a:ext cx="8200797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spcBef>
                <a:spcPts val="0"/>
              </a:spcBef>
              <a:buNone/>
              <a:defRPr b="0"/>
            </a:lvl1pPr>
          </a:lstStyle>
          <a:p>
            <a:pPr rtl="0"/>
            <a:r>
              <a:rPr lang="sv" noProof="0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3997550" cy="6343650"/>
          </a:xfrm>
          <a:solidFill>
            <a:schemeClr val="accent5"/>
          </a:solidFill>
        </p:spPr>
        <p:txBody>
          <a:bodyPr rtlCol="0"/>
          <a:lstStyle>
            <a:lvl1pPr rtl="0">
              <a:defRPr/>
            </a:lvl1pPr>
          </a:lstStyle>
          <a:p>
            <a:pPr lvl="0" rtl="0"/>
            <a:r>
              <a:rPr lang="sv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876" y="1268413"/>
            <a:ext cx="3349527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sv"/>
              <a:t>Picture and</a:t>
            </a:r>
            <a:br>
              <a:rPr lang="en-US"/>
            </a:br>
            <a:r>
              <a:rPr lang="sv"/>
              <a:t>blue box left </a:t>
            </a:r>
            <a:br>
              <a:rPr lang="en-US"/>
            </a:br>
            <a:r>
              <a:rPr lang="sv"/>
              <a:t>with key message,</a:t>
            </a:r>
            <a:br>
              <a:rPr lang="en-US"/>
            </a:br>
            <a:r>
              <a:rPr lang="sv"/>
              <a:t>Arial Narrow 36 p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sv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 rtl="0">
              <a:buNone/>
              <a:defRPr/>
            </a:lvl1pPr>
          </a:lstStyle>
          <a:p>
            <a:pPr lvl="0" rtl="0"/>
            <a:r>
              <a:rPr lang="sv"/>
              <a:t> 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92E56629-8484-1808-2C07-BBC425EE41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6" y="4300012"/>
            <a:ext cx="3349528" cy="1092607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sv"/>
              <a:t>Content text, Arial Regular 14 pt</a:t>
            </a:r>
          </a:p>
          <a:p>
            <a:pPr lvl="1" rtl="0"/>
            <a:r>
              <a:rPr lang="sv"/>
              <a:t>Content bullet</a:t>
            </a:r>
          </a:p>
          <a:p>
            <a:pPr lvl="2" rtl="0"/>
            <a:r>
              <a:rPr lang="sv"/>
              <a:t>Content bullet</a:t>
            </a:r>
          </a:p>
          <a:p>
            <a:pPr lvl="3" rtl="0"/>
            <a:r>
              <a:rPr lang="sv"/>
              <a:t>Content bulle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845797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 with white backgr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13475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5283196" y="0"/>
            <a:ext cx="6915154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sv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5" y="1268413"/>
            <a:ext cx="4392610" cy="1661993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sv"/>
              <a:t>Picture right with </a:t>
            </a:r>
            <a:br>
              <a:rPr lang="en-GB"/>
            </a:br>
            <a:r>
              <a:rPr lang="sv"/>
              <a:t>white background,</a:t>
            </a:r>
            <a:br>
              <a:rPr lang="en-GB"/>
            </a:br>
            <a:r>
              <a:rPr lang="sv"/>
              <a:t>Arial Narrow 36 pt</a:t>
            </a:r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0EC9ECA-ABE1-1FDE-2D36-33FD46FAE6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114" y="3158153"/>
            <a:ext cx="4392609" cy="1384995"/>
          </a:xfrm>
        </p:spPr>
        <p:txBody>
          <a:bodyPr wrap="square" rtlCol="0">
            <a:spAutoFit/>
          </a:bodyPr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 rtl="0"/>
            <a:r>
              <a:rPr lang="sv" noProof="0"/>
              <a:t>Content text, Arial Regular 14 pt</a:t>
            </a:r>
            <a:endParaRPr lang="en-GB" noProof="0"/>
          </a:p>
          <a:p>
            <a:pPr lvl="1" rtl="0"/>
            <a:r>
              <a:rPr lang="sv" noProof="0"/>
              <a:t>Content bullet, Arial Regular 14 pt </a:t>
            </a:r>
          </a:p>
          <a:p>
            <a:pPr lvl="2" rtl="0"/>
            <a:r>
              <a:rPr lang="sv" noProof="0"/>
              <a:t>Content bullet</a:t>
            </a:r>
          </a:p>
          <a:p>
            <a:pPr lvl="3" rtl="0"/>
            <a:r>
              <a:rPr lang="sv" noProof="0"/>
              <a:t>Content bullet</a:t>
            </a:r>
          </a:p>
          <a:p>
            <a:pPr lvl="4" rtl="0"/>
            <a:r>
              <a:rPr lang="sv" noProof="0"/>
              <a:t>Content bulle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sv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sv"/>
              <a:t> 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64046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3320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with white backgr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13475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0" y="0"/>
            <a:ext cx="5283196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sv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27738" y="1268413"/>
            <a:ext cx="5905402" cy="1661993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sv"/>
              <a:t>Picture left with </a:t>
            </a:r>
            <a:br>
              <a:rPr lang="en-GB"/>
            </a:br>
            <a:r>
              <a:rPr lang="sv"/>
              <a:t>white background,</a:t>
            </a:r>
            <a:br>
              <a:rPr lang="en-GB"/>
            </a:br>
            <a:r>
              <a:rPr lang="sv"/>
              <a:t>Arial Narrow 36 pt</a:t>
            </a:r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0EC9ECA-ABE1-1FDE-2D36-33FD46FAE6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27737" y="3158153"/>
            <a:ext cx="5905401" cy="1384995"/>
          </a:xfrm>
        </p:spPr>
        <p:txBody>
          <a:bodyPr wrap="square" rtlCol="0">
            <a:spAutoFit/>
          </a:bodyPr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 rtl="0"/>
            <a:r>
              <a:rPr lang="sv" noProof="0"/>
              <a:t>Content text, Arial Regular 14 pt</a:t>
            </a:r>
            <a:endParaRPr lang="en-GB" noProof="0"/>
          </a:p>
          <a:p>
            <a:pPr lvl="1" rtl="0"/>
            <a:r>
              <a:rPr lang="sv" noProof="0"/>
              <a:t>Content bullet, Arial Regular 14 pt </a:t>
            </a:r>
          </a:p>
          <a:p>
            <a:pPr lvl="2" rtl="0"/>
            <a:r>
              <a:rPr lang="sv" noProof="0"/>
              <a:t>Content bullet</a:t>
            </a:r>
          </a:p>
          <a:p>
            <a:pPr lvl="3" rtl="0"/>
            <a:r>
              <a:rPr lang="sv" noProof="0"/>
              <a:t>Content bullet</a:t>
            </a:r>
          </a:p>
          <a:p>
            <a:pPr lvl="4" rtl="0"/>
            <a:r>
              <a:rPr lang="sv" noProof="0"/>
              <a:t>Content bulle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sv"/>
              <a:t> -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95788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3797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white backgr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13475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0" y="0"/>
            <a:ext cx="12198350" cy="3428998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sv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4" y="3732055"/>
            <a:ext cx="5693567" cy="369332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sv"/>
              <a:t>Picture with white background, Arial Narrow 24 pt</a:t>
            </a:r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0EC9ECA-ABE1-1FDE-2D36-33FD46FAE6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114" y="4245686"/>
            <a:ext cx="5693566" cy="1384995"/>
          </a:xfrm>
        </p:spPr>
        <p:txBody>
          <a:bodyPr wrap="square" rtlCol="0">
            <a:spAutoFit/>
          </a:bodyPr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 rtl="0"/>
            <a:r>
              <a:rPr lang="sv" noProof="0"/>
              <a:t>Content text, Arial Regular 14 pt</a:t>
            </a:r>
            <a:endParaRPr lang="en-GB" noProof="0"/>
          </a:p>
          <a:p>
            <a:pPr lvl="1" rtl="0"/>
            <a:r>
              <a:rPr lang="sv" noProof="0"/>
              <a:t>Content bullet, Arial Regular 14 pt </a:t>
            </a:r>
          </a:p>
          <a:p>
            <a:pPr lvl="2" rtl="0"/>
            <a:r>
              <a:rPr lang="sv" noProof="0"/>
              <a:t>Content bullet</a:t>
            </a:r>
          </a:p>
          <a:p>
            <a:pPr lvl="3" rtl="0"/>
            <a:r>
              <a:rPr lang="sv" noProof="0"/>
              <a:t>Content bullet</a:t>
            </a:r>
          </a:p>
          <a:p>
            <a:pPr lvl="4" rtl="0"/>
            <a:r>
              <a:rPr lang="sv" noProof="0"/>
              <a:t>Content bulle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sv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sv"/>
              <a:t> 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92497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3320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6986794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Bildplatzhalter 59">
            <a:extLst>
              <a:ext uri="{FF2B5EF4-FFF2-40B4-BE49-F238E27FC236}">
                <a16:creationId xmlns:a16="http://schemas.microsoft.com/office/drawing/2014/main" id="{C68ED39D-79F6-496C-BE47-23074D3EF09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754"/>
            <a:ext cx="12198350" cy="5105400"/>
          </a:xfrm>
          <a:custGeom>
            <a:avLst/>
            <a:gdLst>
              <a:gd name="connsiteX0" fmla="*/ 10215479 w 12198350"/>
              <a:gd name="connsiteY0" fmla="*/ 263197 h 5105400"/>
              <a:gd name="connsiteX1" fmla="*/ 10215479 w 12198350"/>
              <a:gd name="connsiteY1" fmla="*/ 792687 h 5105400"/>
              <a:gd name="connsiteX2" fmla="*/ 11933140 w 12198350"/>
              <a:gd name="connsiteY2" fmla="*/ 792687 h 5105400"/>
              <a:gd name="connsiteX3" fmla="*/ 11933140 w 12198350"/>
              <a:gd name="connsiteY3" fmla="*/ 263197 h 5105400"/>
              <a:gd name="connsiteX4" fmla="*/ 0 w 12198350"/>
              <a:gd name="connsiteY4" fmla="*/ 0 h 5105400"/>
              <a:gd name="connsiteX5" fmla="*/ 12198350 w 12198350"/>
              <a:gd name="connsiteY5" fmla="*/ 0 h 5105400"/>
              <a:gd name="connsiteX6" fmla="*/ 12198350 w 12198350"/>
              <a:gd name="connsiteY6" fmla="*/ 5105400 h 5105400"/>
              <a:gd name="connsiteX7" fmla="*/ 8191500 w 12198350"/>
              <a:gd name="connsiteY7" fmla="*/ 5105400 h 5105400"/>
              <a:gd name="connsiteX8" fmla="*/ 8191500 w 12198350"/>
              <a:gd name="connsiteY8" fmla="*/ 4745737 h 5105400"/>
              <a:gd name="connsiteX9" fmla="*/ 0 w 12198350"/>
              <a:gd name="connsiteY9" fmla="*/ 4745737 h 510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5105400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5105400"/>
                </a:lnTo>
                <a:lnTo>
                  <a:pt x="8191500" y="5105400"/>
                </a:lnTo>
                <a:lnTo>
                  <a:pt x="8191500" y="4745737"/>
                </a:lnTo>
                <a:lnTo>
                  <a:pt x="0" y="474573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sv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5884669"/>
            <a:ext cx="5693569" cy="246221"/>
          </a:xfrm>
        </p:spPr>
        <p:txBody>
          <a:bodyPr rtlCol="0">
            <a:noAutofit/>
          </a:bodyPr>
          <a:lstStyle>
            <a:lvl1pPr marL="0" indent="0" rtl="0">
              <a:buNone/>
              <a:defRPr sz="1600" b="0" baseline="0"/>
            </a:lvl1pPr>
          </a:lstStyle>
          <a:p>
            <a:pPr lvl="0" rtl="0"/>
            <a:r>
              <a:rPr lang="sv" noProof="0"/>
              <a:t>Subheading, Arial Regular 16 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5059987"/>
            <a:ext cx="5693569" cy="553998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rtl="0"/>
            <a:r>
              <a:rPr lang="sv" noProof="0"/>
              <a:t>Title slide picture, Arial Narrow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47" name="Rechteck 46">
            <a:extLst>
              <a:ext uri="{FF2B5EF4-FFF2-40B4-BE49-F238E27FC236}">
                <a16:creationId xmlns:a16="http://schemas.microsoft.com/office/drawing/2014/main" id="{F23796B9-EFAD-464E-B54C-F2085D279C6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0630DEB9-4938-44E1-B389-33145B2318F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2" name="AutoShape 4">
            <a:extLst>
              <a:ext uri="{FF2B5EF4-FFF2-40B4-BE49-F238E27FC236}">
                <a16:creationId xmlns:a16="http://schemas.microsoft.com/office/drawing/2014/main" id="{53C56AA3-1A6E-484C-8F26-BAE97EFB611D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263197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60434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full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50331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395E2D8-7A93-C9D1-4986-10468039F7F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-1"/>
            <a:ext cx="12198350" cy="6354666"/>
          </a:xfrm>
          <a:custGeom>
            <a:avLst/>
            <a:gdLst>
              <a:gd name="connsiteX0" fmla="*/ 0 w 12198350"/>
              <a:gd name="connsiteY0" fmla="*/ 0 h 6354666"/>
              <a:gd name="connsiteX1" fmla="*/ 12198350 w 12198350"/>
              <a:gd name="connsiteY1" fmla="*/ 0 h 6354666"/>
              <a:gd name="connsiteX2" fmla="*/ 12198350 w 12198350"/>
              <a:gd name="connsiteY2" fmla="*/ 6354666 h 6354666"/>
              <a:gd name="connsiteX3" fmla="*/ 0 w 12198350"/>
              <a:gd name="connsiteY3" fmla="*/ 6354666 h 6354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8350" h="6354666">
                <a:moveTo>
                  <a:pt x="0" y="0"/>
                </a:moveTo>
                <a:lnTo>
                  <a:pt x="12198350" y="0"/>
                </a:lnTo>
                <a:lnTo>
                  <a:pt x="12198350" y="6354666"/>
                </a:lnTo>
                <a:lnTo>
                  <a:pt x="0" y="635466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spcBef>
                <a:spcPts val="0"/>
              </a:spcBef>
              <a:buNone/>
              <a:defRPr b="0"/>
            </a:lvl1pPr>
          </a:lstStyle>
          <a:p>
            <a:pPr rtl="0"/>
            <a:r>
              <a:rPr lang="sv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sv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sv"/>
              <a:t> 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0144922-CE7D-630F-ECDA-E95C49B396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843159" y="4569274"/>
            <a:ext cx="5089525" cy="1308050"/>
          </a:xfrm>
        </p:spPr>
        <p:txBody>
          <a:bodyPr rtlCol="0">
            <a:spAutoFit/>
          </a:bodyPr>
          <a:lstStyle>
            <a:lvl1pPr marL="0" indent="0"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b="0">
                <a:solidFill>
                  <a:schemeClr val="bg1"/>
                </a:solidFill>
              </a:defRPr>
            </a:lvl2pPr>
          </a:lstStyle>
          <a:p>
            <a:pPr lvl="0" rtl="0"/>
            <a:r>
              <a:rPr lang="sv"/>
              <a:t>„Quote with fullsize picture,</a:t>
            </a:r>
            <a:br>
              <a:rPr lang="en-US"/>
            </a:br>
            <a:r>
              <a:rPr lang="sv"/>
              <a:t>Arial Narrow 32 pt“</a:t>
            </a:r>
          </a:p>
          <a:p>
            <a:pPr lvl="1" rtl="0"/>
            <a:r>
              <a:rPr lang="sv" sz="1600">
                <a:solidFill>
                  <a:schemeClr val="bg1"/>
                </a:solidFill>
              </a:rPr>
              <a:t>Author</a:t>
            </a:r>
            <a:endParaRPr lang="en-GB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C8BFCFB-39B2-39F4-ACEB-B4932EB8B4E0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C5597AE-422B-84CA-4F8E-6F4832E032C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72585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key messag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21200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8270C5EA-3DB8-4C9C-8A48-34AC74D7296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201025" y="0"/>
            <a:ext cx="3997325" cy="6343200"/>
          </a:xfrm>
          <a:custGeom>
            <a:avLst/>
            <a:gdLst>
              <a:gd name="connsiteX0" fmla="*/ 2513563 w 3997325"/>
              <a:gd name="connsiteY0" fmla="*/ 263197 h 6345238"/>
              <a:gd name="connsiteX1" fmla="*/ 2513563 w 3997325"/>
              <a:gd name="connsiteY1" fmla="*/ 638831 h 6345238"/>
              <a:gd name="connsiteX2" fmla="*/ 3732115 w 3997325"/>
              <a:gd name="connsiteY2" fmla="*/ 638831 h 6345238"/>
              <a:gd name="connsiteX3" fmla="*/ 3732115 w 3997325"/>
              <a:gd name="connsiteY3" fmla="*/ 263197 h 6345238"/>
              <a:gd name="connsiteX4" fmla="*/ 0 w 3997325"/>
              <a:gd name="connsiteY4" fmla="*/ 0 h 6345238"/>
              <a:gd name="connsiteX5" fmla="*/ 3997325 w 3997325"/>
              <a:gd name="connsiteY5" fmla="*/ 0 h 6345238"/>
              <a:gd name="connsiteX6" fmla="*/ 3997325 w 3997325"/>
              <a:gd name="connsiteY6" fmla="*/ 6345238 h 6345238"/>
              <a:gd name="connsiteX7" fmla="*/ 0 w 3997325"/>
              <a:gd name="connsiteY7" fmla="*/ 6345238 h 634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97325" h="6345238">
                <a:moveTo>
                  <a:pt x="2513563" y="263197"/>
                </a:moveTo>
                <a:lnTo>
                  <a:pt x="2513563" y="638831"/>
                </a:lnTo>
                <a:lnTo>
                  <a:pt x="3732115" y="638831"/>
                </a:lnTo>
                <a:lnTo>
                  <a:pt x="3732115" y="263197"/>
                </a:lnTo>
                <a:close/>
                <a:moveTo>
                  <a:pt x="0" y="0"/>
                </a:moveTo>
                <a:lnTo>
                  <a:pt x="3997325" y="0"/>
                </a:lnTo>
                <a:lnTo>
                  <a:pt x="3997325" y="6345238"/>
                </a:lnTo>
                <a:lnTo>
                  <a:pt x="0" y="634523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sv"/>
              <a:t>Please insert an image</a:t>
            </a:r>
            <a:br>
              <a:rPr lang="en-GB"/>
            </a:br>
            <a:br>
              <a:rPr lang="en-GB"/>
            </a:br>
            <a:br>
              <a:rPr lang="en-GB"/>
            </a:b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sv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sv"/>
              <a:t> -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1268413"/>
            <a:ext cx="7608887" cy="1578894"/>
          </a:xfrm>
        </p:spPr>
        <p:txBody>
          <a:bodyPr wrap="square" rtlCol="0">
            <a:spAutoFit/>
          </a:bodyPr>
          <a:lstStyle>
            <a:lvl1pPr marL="0" indent="0" rtl="0">
              <a:lnSpc>
                <a:spcPct val="95000"/>
              </a:lnSpc>
              <a:buNone/>
              <a:defRPr sz="5400" b="0">
                <a:latin typeface="+mj-lt"/>
              </a:defRPr>
            </a:lvl1pPr>
          </a:lstStyle>
          <a:p>
            <a:pPr rtl="0"/>
            <a:r>
              <a:rPr lang="sv"/>
              <a:t>Large key message with picture, Arial Narrow 54 p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CEEFE604-F18B-42FD-BAAF-8792C64469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9114" y="3081663"/>
            <a:ext cx="7608887" cy="215444"/>
          </a:xfrm>
        </p:spPr>
        <p:txBody>
          <a:bodyPr wrap="square" rtlCol="0">
            <a:spAutoFit/>
          </a:bodyPr>
          <a:lstStyle>
            <a:lvl1pPr marL="0" indent="0" rtl="0">
              <a:buNone/>
              <a:defRPr sz="1400" b="0"/>
            </a:lvl1pPr>
          </a:lstStyle>
          <a:p>
            <a:pPr lvl="0" rtl="0"/>
            <a:r>
              <a:rPr lang="sv" noProof="0"/>
              <a:t>Content text, Arial Regular 14 pt</a:t>
            </a:r>
            <a:endParaRPr lang="en-GB" noProof="0"/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4275B8F0-F007-40EC-A0F4-0F0416C6FCF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15" name="AutoShape 4">
            <a:extLst>
              <a:ext uri="{FF2B5EF4-FFF2-40B4-BE49-F238E27FC236}">
                <a16:creationId xmlns:a16="http://schemas.microsoft.com/office/drawing/2014/main" id="{786D53B5-B249-42ED-B8D5-2598E5D7AE9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505728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12">
          <p15:clr>
            <a:srgbClr val="FBAE40"/>
          </p15:clr>
        </p15:guide>
        <p15:guide id="2" pos="5164">
          <p15:clr>
            <a:srgbClr val="FBAE40"/>
          </p15:clr>
        </p15:guide>
        <p15:guide id="3" pos="32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itle and gra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63747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sv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sv"/>
              <a:t> -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B07B292-2432-43AE-A9DC-E57B6304BA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9113" y="401503"/>
            <a:ext cx="9431338" cy="677108"/>
          </a:xfrm>
        </p:spPr>
        <p:txBody>
          <a:bodyPr vert="horz" rtlCol="0"/>
          <a:lstStyle>
            <a:lvl1pPr rtl="0">
              <a:defRPr sz="4400" b="0"/>
            </a:lvl1pPr>
          </a:lstStyle>
          <a:p>
            <a:pPr rtl="0"/>
            <a:r>
              <a:rPr lang="sv" noProof="0"/>
              <a:t>Large title and gray background, 44 pt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B79ACFF-F235-46E5-A486-E4FEE8D6B9B2}"/>
              </a:ext>
            </a:extLst>
          </p:cNvPr>
          <p:cNvSpPr/>
          <p:nvPr userDrawn="1"/>
        </p:nvSpPr>
        <p:spPr>
          <a:xfrm>
            <a:off x="0" y="1484313"/>
            <a:ext cx="12198350" cy="4860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GB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AD2A2C3E-A9A9-4232-9D91-C3A337AA91A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9113" y="1630363"/>
            <a:ext cx="11412537" cy="4498975"/>
          </a:xfrm>
        </p:spPr>
        <p:txBody>
          <a:bodyPr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sv" noProof="0"/>
              <a:t>Content text, Arial Regular 16 pt</a:t>
            </a:r>
          </a:p>
          <a:p>
            <a:pPr lvl="1" rtl="0"/>
            <a:r>
              <a:rPr lang="sv" noProof="0"/>
              <a:t>Content bullet, Arial Regular 16 pt </a:t>
            </a:r>
          </a:p>
          <a:p>
            <a:pPr lvl="2" rtl="0"/>
            <a:r>
              <a:rPr lang="sv" noProof="0"/>
              <a:t>Content bullet</a:t>
            </a:r>
          </a:p>
          <a:p>
            <a:pPr lvl="3" rtl="0"/>
            <a:r>
              <a:rPr lang="sv" noProof="0"/>
              <a:t>Content bullet</a:t>
            </a:r>
          </a:p>
          <a:p>
            <a:pPr lvl="4" rtl="0"/>
            <a:r>
              <a:rPr lang="sv" noProof="0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43525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  <p15:guide id="2" orient="horz" pos="1026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1722030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5059987"/>
            <a:ext cx="5693569" cy="1107996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sv" noProof="0"/>
              <a:t>Thank you for your attention,</a:t>
            </a:r>
            <a:br>
              <a:rPr lang="en-GB" noProof="0"/>
            </a:br>
            <a:r>
              <a:rPr lang="sv" noProof="0"/>
              <a:t>Arial Narrow 36 pt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47" name="Rechteck 46">
            <a:extLst>
              <a:ext uri="{FF2B5EF4-FFF2-40B4-BE49-F238E27FC236}">
                <a16:creationId xmlns:a16="http://schemas.microsoft.com/office/drawing/2014/main" id="{A3BB5194-F422-4CF4-A3E4-0A5F0299250F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215F2271-2C7B-4893-B6EC-5F4FE8B1477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C3D6CA64-CE22-4C0E-B89B-8854D67040F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754"/>
            <a:ext cx="12198350" cy="5105400"/>
          </a:xfrm>
          <a:custGeom>
            <a:avLst/>
            <a:gdLst>
              <a:gd name="connsiteX0" fmla="*/ 10215479 w 12198350"/>
              <a:gd name="connsiteY0" fmla="*/ 263197 h 5105400"/>
              <a:gd name="connsiteX1" fmla="*/ 10215479 w 12198350"/>
              <a:gd name="connsiteY1" fmla="*/ 792687 h 5105400"/>
              <a:gd name="connsiteX2" fmla="*/ 11933140 w 12198350"/>
              <a:gd name="connsiteY2" fmla="*/ 792687 h 5105400"/>
              <a:gd name="connsiteX3" fmla="*/ 11933140 w 12198350"/>
              <a:gd name="connsiteY3" fmla="*/ 263197 h 5105400"/>
              <a:gd name="connsiteX4" fmla="*/ 0 w 12198350"/>
              <a:gd name="connsiteY4" fmla="*/ 0 h 5105400"/>
              <a:gd name="connsiteX5" fmla="*/ 12198350 w 12198350"/>
              <a:gd name="connsiteY5" fmla="*/ 0 h 5105400"/>
              <a:gd name="connsiteX6" fmla="*/ 12198350 w 12198350"/>
              <a:gd name="connsiteY6" fmla="*/ 5105400 h 5105400"/>
              <a:gd name="connsiteX7" fmla="*/ 8191500 w 12198350"/>
              <a:gd name="connsiteY7" fmla="*/ 5105400 h 5105400"/>
              <a:gd name="connsiteX8" fmla="*/ 8191500 w 12198350"/>
              <a:gd name="connsiteY8" fmla="*/ 4745737 h 5105400"/>
              <a:gd name="connsiteX9" fmla="*/ 0 w 12198350"/>
              <a:gd name="connsiteY9" fmla="*/ 4745737 h 510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5105400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5105400"/>
                </a:lnTo>
                <a:lnTo>
                  <a:pt x="8191500" y="5105400"/>
                </a:lnTo>
                <a:lnTo>
                  <a:pt x="8191500" y="4745737"/>
                </a:lnTo>
                <a:lnTo>
                  <a:pt x="0" y="474573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sv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157965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5772505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Bildplatzhalter 67">
            <a:extLst>
              <a:ext uri="{FF2B5EF4-FFF2-40B4-BE49-F238E27FC236}">
                <a16:creationId xmlns:a16="http://schemas.microsoft.com/office/drawing/2014/main" id="{96B1D410-3F2D-42FA-B47A-3D9E7AAA025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8350" cy="4030663"/>
          </a:xfrm>
          <a:custGeom>
            <a:avLst/>
            <a:gdLst>
              <a:gd name="connsiteX0" fmla="*/ 10215479 w 12198350"/>
              <a:gd name="connsiteY0" fmla="*/ 263197 h 4030663"/>
              <a:gd name="connsiteX1" fmla="*/ 10215479 w 12198350"/>
              <a:gd name="connsiteY1" fmla="*/ 792687 h 4030663"/>
              <a:gd name="connsiteX2" fmla="*/ 11933140 w 12198350"/>
              <a:gd name="connsiteY2" fmla="*/ 792687 h 4030663"/>
              <a:gd name="connsiteX3" fmla="*/ 11933140 w 12198350"/>
              <a:gd name="connsiteY3" fmla="*/ 263197 h 4030663"/>
              <a:gd name="connsiteX4" fmla="*/ 0 w 12198350"/>
              <a:gd name="connsiteY4" fmla="*/ 0 h 4030663"/>
              <a:gd name="connsiteX5" fmla="*/ 12198350 w 12198350"/>
              <a:gd name="connsiteY5" fmla="*/ 0 h 4030663"/>
              <a:gd name="connsiteX6" fmla="*/ 12198350 w 12198350"/>
              <a:gd name="connsiteY6" fmla="*/ 4030663 h 4030663"/>
              <a:gd name="connsiteX7" fmla="*/ 8191500 w 12198350"/>
              <a:gd name="connsiteY7" fmla="*/ 4030663 h 4030663"/>
              <a:gd name="connsiteX8" fmla="*/ 8191500 w 12198350"/>
              <a:gd name="connsiteY8" fmla="*/ 3671000 h 4030663"/>
              <a:gd name="connsiteX9" fmla="*/ 0 w 12198350"/>
              <a:gd name="connsiteY9" fmla="*/ 3671000 h 403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40306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4030663"/>
                </a:lnTo>
                <a:lnTo>
                  <a:pt x="8191500" y="4030663"/>
                </a:lnTo>
                <a:lnTo>
                  <a:pt x="8191500" y="3671000"/>
                </a:lnTo>
                <a:lnTo>
                  <a:pt x="0" y="3671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>
              <a:buNone/>
              <a:defRPr/>
            </a:lvl1pPr>
          </a:lstStyle>
          <a:p>
            <a:pPr rtl="0"/>
            <a:r>
              <a:rPr lang="sv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3927884"/>
            <a:ext cx="5693569" cy="553998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sv"/>
              <a:t>Thank you for your attention!</a:t>
            </a:r>
            <a:endParaRPr lang="en-US" noProof="0"/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US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</p:grpSp>
      <p:sp>
        <p:nvSpPr>
          <p:cNvPr id="52" name="Textplatzhalter 3">
            <a:extLst>
              <a:ext uri="{FF2B5EF4-FFF2-40B4-BE49-F238E27FC236}">
                <a16:creationId xmlns:a16="http://schemas.microsoft.com/office/drawing/2014/main" id="{62607DD7-FD68-423F-8CAD-9C36FF1605D4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19113" y="4616862"/>
            <a:ext cx="5693569" cy="215444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sv"/>
              <a:t>Name</a:t>
            </a:r>
            <a:endParaRPr lang="en-US" noProof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B937BC0-8AED-4A00-A6CF-A1A6A8BA801D}"/>
              </a:ext>
            </a:extLst>
          </p:cNvPr>
          <p:cNvSpPr txBox="1">
            <a:spLocks/>
          </p:cNvSpPr>
          <p:nvPr userDrawn="1"/>
        </p:nvSpPr>
        <p:spPr>
          <a:xfrm>
            <a:off x="8200799" y="4616862"/>
            <a:ext cx="371175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sv" sz="1400">
                <a:latin typeface="Arial" panose="020B0604020202020204" pitchFamily="34" charset="0"/>
                <a:cs typeface="Arial" panose="020B0604020202020204" pitchFamily="34" charset="0"/>
              </a:rPr>
              <a:t>Learn more about our company</a:t>
            </a:r>
            <a:b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sv" sz="1400"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www.tesa.com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6A62BB1-0DA7-4E41-9F7A-6C2CFE54250E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1BA462-2946-4163-B2CE-B44C8E5721B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4" name="AutoShape 4">
            <a:extLst>
              <a:ext uri="{FF2B5EF4-FFF2-40B4-BE49-F238E27FC236}">
                <a16:creationId xmlns:a16="http://schemas.microsoft.com/office/drawing/2014/main" id="{510C1027-9FFF-4D5E-B4B5-42C2FFFB5E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306536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17" name="AutoShape 3">
            <a:extLst>
              <a:ext uri="{FF2B5EF4-FFF2-40B4-BE49-F238E27FC236}">
                <a16:creationId xmlns:a16="http://schemas.microsoft.com/office/drawing/2014/main" id="{91A1A5E5-EC1A-45F6-A5A8-A9F67657C572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193037" y="585222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18" name="Freeform 5">
            <a:hlinkClick r:id="rId8"/>
            <a:extLst>
              <a:ext uri="{FF2B5EF4-FFF2-40B4-BE49-F238E27FC236}">
                <a16:creationId xmlns:a16="http://schemas.microsoft.com/office/drawing/2014/main" id="{545FF3AD-8009-4359-83DC-1E76A94A17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193037" y="5852228"/>
            <a:ext cx="304800" cy="304800"/>
          </a:xfrm>
          <a:custGeom>
            <a:avLst/>
            <a:gdLst>
              <a:gd name="T0" fmla="*/ 373 w 667"/>
              <a:gd name="T1" fmla="*/ 523 h 667"/>
              <a:gd name="T2" fmla="*/ 297 w 667"/>
              <a:gd name="T3" fmla="*/ 485 h 667"/>
              <a:gd name="T4" fmla="*/ 276 w 667"/>
              <a:gd name="T5" fmla="*/ 564 h 667"/>
              <a:gd name="T6" fmla="*/ 235 w 667"/>
              <a:gd name="T7" fmla="*/ 652 h 667"/>
              <a:gd name="T8" fmla="*/ 212 w 667"/>
              <a:gd name="T9" fmla="*/ 644 h 667"/>
              <a:gd name="T10" fmla="*/ 213 w 667"/>
              <a:gd name="T11" fmla="*/ 548 h 667"/>
              <a:gd name="T12" fmla="*/ 252 w 667"/>
              <a:gd name="T13" fmla="*/ 382 h 667"/>
              <a:gd name="T14" fmla="*/ 242 w 667"/>
              <a:gd name="T15" fmla="*/ 333 h 667"/>
              <a:gd name="T16" fmla="*/ 302 w 667"/>
              <a:gd name="T17" fmla="*/ 252 h 667"/>
              <a:gd name="T18" fmla="*/ 344 w 667"/>
              <a:gd name="T19" fmla="*/ 299 h 667"/>
              <a:gd name="T20" fmla="*/ 317 w 667"/>
              <a:gd name="T21" fmla="*/ 410 h 667"/>
              <a:gd name="T22" fmla="*/ 366 w 667"/>
              <a:gd name="T23" fmla="*/ 470 h 667"/>
              <a:gd name="T24" fmla="*/ 471 w 667"/>
              <a:gd name="T25" fmla="*/ 318 h 667"/>
              <a:gd name="T26" fmla="*/ 332 w 667"/>
              <a:gd name="T27" fmla="*/ 182 h 667"/>
              <a:gd name="T28" fmla="*/ 181 w 667"/>
              <a:gd name="T29" fmla="*/ 327 h 667"/>
              <a:gd name="T30" fmla="*/ 206 w 667"/>
              <a:gd name="T31" fmla="*/ 403 h 667"/>
              <a:gd name="T32" fmla="*/ 209 w 667"/>
              <a:gd name="T33" fmla="*/ 412 h 667"/>
              <a:gd name="T34" fmla="*/ 199 w 667"/>
              <a:gd name="T35" fmla="*/ 450 h 667"/>
              <a:gd name="T36" fmla="*/ 188 w 667"/>
              <a:gd name="T37" fmla="*/ 454 h 667"/>
              <a:gd name="T38" fmla="*/ 120 w 667"/>
              <a:gd name="T39" fmla="*/ 325 h 667"/>
              <a:gd name="T40" fmla="*/ 341 w 667"/>
              <a:gd name="T41" fmla="*/ 124 h 667"/>
              <a:gd name="T42" fmla="*/ 546 w 667"/>
              <a:gd name="T43" fmla="*/ 316 h 667"/>
              <a:gd name="T44" fmla="*/ 373 w 667"/>
              <a:gd name="T45" fmla="*/ 523 h 667"/>
              <a:gd name="T46" fmla="*/ 630 w 667"/>
              <a:gd name="T47" fmla="*/ 37 h 667"/>
              <a:gd name="T48" fmla="*/ 542 w 667"/>
              <a:gd name="T49" fmla="*/ 0 h 667"/>
              <a:gd name="T50" fmla="*/ 125 w 667"/>
              <a:gd name="T51" fmla="*/ 0 h 667"/>
              <a:gd name="T52" fmla="*/ 37 w 667"/>
              <a:gd name="T53" fmla="*/ 37 h 667"/>
              <a:gd name="T54" fmla="*/ 0 w 667"/>
              <a:gd name="T55" fmla="*/ 125 h 667"/>
              <a:gd name="T56" fmla="*/ 0 w 667"/>
              <a:gd name="T57" fmla="*/ 542 h 667"/>
              <a:gd name="T58" fmla="*/ 37 w 667"/>
              <a:gd name="T59" fmla="*/ 630 h 667"/>
              <a:gd name="T60" fmla="*/ 125 w 667"/>
              <a:gd name="T61" fmla="*/ 667 h 667"/>
              <a:gd name="T62" fmla="*/ 542 w 667"/>
              <a:gd name="T63" fmla="*/ 667 h 667"/>
              <a:gd name="T64" fmla="*/ 630 w 667"/>
              <a:gd name="T65" fmla="*/ 630 h 667"/>
              <a:gd name="T66" fmla="*/ 667 w 667"/>
              <a:gd name="T67" fmla="*/ 542 h 667"/>
              <a:gd name="T68" fmla="*/ 667 w 667"/>
              <a:gd name="T69" fmla="*/ 125 h 667"/>
              <a:gd name="T70" fmla="*/ 630 w 667"/>
              <a:gd name="T71" fmla="*/ 37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67" h="667">
                <a:moveTo>
                  <a:pt x="373" y="523"/>
                </a:moveTo>
                <a:cubicBezTo>
                  <a:pt x="340" y="523"/>
                  <a:pt x="308" y="506"/>
                  <a:pt x="297" y="485"/>
                </a:cubicBezTo>
                <a:cubicBezTo>
                  <a:pt x="297" y="485"/>
                  <a:pt x="280" y="549"/>
                  <a:pt x="276" y="564"/>
                </a:cubicBezTo>
                <a:cubicBezTo>
                  <a:pt x="268" y="593"/>
                  <a:pt x="248" y="630"/>
                  <a:pt x="235" y="652"/>
                </a:cubicBezTo>
                <a:cubicBezTo>
                  <a:pt x="212" y="644"/>
                  <a:pt x="212" y="644"/>
                  <a:pt x="212" y="644"/>
                </a:cubicBezTo>
                <a:cubicBezTo>
                  <a:pt x="209" y="617"/>
                  <a:pt x="206" y="577"/>
                  <a:pt x="213" y="548"/>
                </a:cubicBezTo>
                <a:cubicBezTo>
                  <a:pt x="219" y="522"/>
                  <a:pt x="252" y="382"/>
                  <a:pt x="252" y="382"/>
                </a:cubicBezTo>
                <a:cubicBezTo>
                  <a:pt x="252" y="382"/>
                  <a:pt x="242" y="362"/>
                  <a:pt x="242" y="333"/>
                </a:cubicBezTo>
                <a:cubicBezTo>
                  <a:pt x="242" y="287"/>
                  <a:pt x="269" y="252"/>
                  <a:pt x="302" y="252"/>
                </a:cubicBezTo>
                <a:cubicBezTo>
                  <a:pt x="331" y="252"/>
                  <a:pt x="344" y="273"/>
                  <a:pt x="344" y="299"/>
                </a:cubicBezTo>
                <a:cubicBezTo>
                  <a:pt x="344" y="328"/>
                  <a:pt x="326" y="370"/>
                  <a:pt x="317" y="410"/>
                </a:cubicBezTo>
                <a:cubicBezTo>
                  <a:pt x="309" y="443"/>
                  <a:pt x="334" y="470"/>
                  <a:pt x="366" y="470"/>
                </a:cubicBezTo>
                <a:cubicBezTo>
                  <a:pt x="425" y="470"/>
                  <a:pt x="471" y="408"/>
                  <a:pt x="471" y="318"/>
                </a:cubicBezTo>
                <a:cubicBezTo>
                  <a:pt x="471" y="238"/>
                  <a:pt x="414" y="182"/>
                  <a:pt x="332" y="182"/>
                </a:cubicBezTo>
                <a:cubicBezTo>
                  <a:pt x="237" y="182"/>
                  <a:pt x="181" y="253"/>
                  <a:pt x="181" y="327"/>
                </a:cubicBezTo>
                <a:cubicBezTo>
                  <a:pt x="181" y="355"/>
                  <a:pt x="192" y="386"/>
                  <a:pt x="206" y="403"/>
                </a:cubicBezTo>
                <a:cubicBezTo>
                  <a:pt x="209" y="406"/>
                  <a:pt x="209" y="409"/>
                  <a:pt x="209" y="412"/>
                </a:cubicBezTo>
                <a:cubicBezTo>
                  <a:pt x="206" y="423"/>
                  <a:pt x="200" y="445"/>
                  <a:pt x="199" y="450"/>
                </a:cubicBezTo>
                <a:cubicBezTo>
                  <a:pt x="198" y="456"/>
                  <a:pt x="194" y="457"/>
                  <a:pt x="188" y="454"/>
                </a:cubicBezTo>
                <a:cubicBezTo>
                  <a:pt x="146" y="435"/>
                  <a:pt x="120" y="374"/>
                  <a:pt x="120" y="325"/>
                </a:cubicBezTo>
                <a:cubicBezTo>
                  <a:pt x="121" y="220"/>
                  <a:pt x="197" y="124"/>
                  <a:pt x="341" y="124"/>
                </a:cubicBezTo>
                <a:cubicBezTo>
                  <a:pt x="456" y="124"/>
                  <a:pt x="546" y="206"/>
                  <a:pt x="546" y="316"/>
                </a:cubicBezTo>
                <a:cubicBezTo>
                  <a:pt x="546" y="431"/>
                  <a:pt x="474" y="523"/>
                  <a:pt x="373" y="523"/>
                </a:cubicBezTo>
                <a:close/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21" name="Freeform 9">
            <a:hlinkClick r:id="rId9"/>
            <a:extLst>
              <a:ext uri="{FF2B5EF4-FFF2-40B4-BE49-F238E27FC236}">
                <a16:creationId xmlns:a16="http://schemas.microsoft.com/office/drawing/2014/main" id="{D964BAE0-D6AB-4F9F-B324-BB2D471E9FFC}"/>
              </a:ext>
            </a:extLst>
          </p:cNvPr>
          <p:cNvSpPr>
            <a:spLocks/>
          </p:cNvSpPr>
          <p:nvPr userDrawn="1"/>
        </p:nvSpPr>
        <p:spPr bwMode="auto">
          <a:xfrm>
            <a:off x="9695589" y="5852228"/>
            <a:ext cx="303576" cy="304800"/>
          </a:xfrm>
          <a:custGeom>
            <a:avLst/>
            <a:gdLst>
              <a:gd name="T0" fmla="*/ 630 w 667"/>
              <a:gd name="T1" fmla="*/ 37 h 667"/>
              <a:gd name="T2" fmla="*/ 542 w 667"/>
              <a:gd name="T3" fmla="*/ 0 h 667"/>
              <a:gd name="T4" fmla="*/ 125 w 667"/>
              <a:gd name="T5" fmla="*/ 0 h 667"/>
              <a:gd name="T6" fmla="*/ 37 w 667"/>
              <a:gd name="T7" fmla="*/ 37 h 667"/>
              <a:gd name="T8" fmla="*/ 0 w 667"/>
              <a:gd name="T9" fmla="*/ 125 h 667"/>
              <a:gd name="T10" fmla="*/ 0 w 667"/>
              <a:gd name="T11" fmla="*/ 542 h 667"/>
              <a:gd name="T12" fmla="*/ 37 w 667"/>
              <a:gd name="T13" fmla="*/ 630 h 667"/>
              <a:gd name="T14" fmla="*/ 125 w 667"/>
              <a:gd name="T15" fmla="*/ 667 h 667"/>
              <a:gd name="T16" fmla="*/ 333 w 667"/>
              <a:gd name="T17" fmla="*/ 667 h 667"/>
              <a:gd name="T18" fmla="*/ 333 w 667"/>
              <a:gd name="T19" fmla="*/ 375 h 667"/>
              <a:gd name="T20" fmla="*/ 250 w 667"/>
              <a:gd name="T21" fmla="*/ 375 h 667"/>
              <a:gd name="T22" fmla="*/ 250 w 667"/>
              <a:gd name="T23" fmla="*/ 292 h 667"/>
              <a:gd name="T24" fmla="*/ 333 w 667"/>
              <a:gd name="T25" fmla="*/ 292 h 667"/>
              <a:gd name="T26" fmla="*/ 333 w 667"/>
              <a:gd name="T27" fmla="*/ 229 h 667"/>
              <a:gd name="T28" fmla="*/ 438 w 667"/>
              <a:gd name="T29" fmla="*/ 125 h 667"/>
              <a:gd name="T30" fmla="*/ 542 w 667"/>
              <a:gd name="T31" fmla="*/ 125 h 667"/>
              <a:gd name="T32" fmla="*/ 542 w 667"/>
              <a:gd name="T33" fmla="*/ 208 h 667"/>
              <a:gd name="T34" fmla="*/ 438 w 667"/>
              <a:gd name="T35" fmla="*/ 208 h 667"/>
              <a:gd name="T36" fmla="*/ 417 w 667"/>
              <a:gd name="T37" fmla="*/ 229 h 667"/>
              <a:gd name="T38" fmla="*/ 417 w 667"/>
              <a:gd name="T39" fmla="*/ 292 h 667"/>
              <a:gd name="T40" fmla="*/ 531 w 667"/>
              <a:gd name="T41" fmla="*/ 292 h 667"/>
              <a:gd name="T42" fmla="*/ 510 w 667"/>
              <a:gd name="T43" fmla="*/ 375 h 667"/>
              <a:gd name="T44" fmla="*/ 417 w 667"/>
              <a:gd name="T45" fmla="*/ 375 h 667"/>
              <a:gd name="T46" fmla="*/ 417 w 667"/>
              <a:gd name="T47" fmla="*/ 667 h 667"/>
              <a:gd name="T48" fmla="*/ 542 w 667"/>
              <a:gd name="T49" fmla="*/ 667 h 667"/>
              <a:gd name="T50" fmla="*/ 630 w 667"/>
              <a:gd name="T51" fmla="*/ 630 h 667"/>
              <a:gd name="T52" fmla="*/ 667 w 667"/>
              <a:gd name="T53" fmla="*/ 542 h 667"/>
              <a:gd name="T54" fmla="*/ 667 w 667"/>
              <a:gd name="T55" fmla="*/ 125 h 667"/>
              <a:gd name="T56" fmla="*/ 630 w 667"/>
              <a:gd name="T57" fmla="*/ 37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667" h="667"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333" y="667"/>
                  <a:pt x="333" y="667"/>
                  <a:pt x="333" y="667"/>
                </a:cubicBezTo>
                <a:cubicBezTo>
                  <a:pt x="333" y="375"/>
                  <a:pt x="333" y="375"/>
                  <a:pt x="333" y="375"/>
                </a:cubicBezTo>
                <a:cubicBezTo>
                  <a:pt x="250" y="375"/>
                  <a:pt x="250" y="375"/>
                  <a:pt x="250" y="375"/>
                </a:cubicBezTo>
                <a:cubicBezTo>
                  <a:pt x="250" y="292"/>
                  <a:pt x="250" y="292"/>
                  <a:pt x="250" y="292"/>
                </a:cubicBezTo>
                <a:cubicBezTo>
                  <a:pt x="333" y="292"/>
                  <a:pt x="333" y="292"/>
                  <a:pt x="333" y="292"/>
                </a:cubicBezTo>
                <a:cubicBezTo>
                  <a:pt x="333" y="229"/>
                  <a:pt x="333" y="229"/>
                  <a:pt x="333" y="229"/>
                </a:cubicBezTo>
                <a:cubicBezTo>
                  <a:pt x="333" y="172"/>
                  <a:pt x="380" y="125"/>
                  <a:pt x="438" y="125"/>
                </a:cubicBezTo>
                <a:cubicBezTo>
                  <a:pt x="542" y="125"/>
                  <a:pt x="542" y="125"/>
                  <a:pt x="542" y="125"/>
                </a:cubicBezTo>
                <a:cubicBezTo>
                  <a:pt x="542" y="208"/>
                  <a:pt x="542" y="208"/>
                  <a:pt x="542" y="208"/>
                </a:cubicBezTo>
                <a:cubicBezTo>
                  <a:pt x="438" y="208"/>
                  <a:pt x="438" y="208"/>
                  <a:pt x="438" y="208"/>
                </a:cubicBezTo>
                <a:cubicBezTo>
                  <a:pt x="426" y="208"/>
                  <a:pt x="417" y="218"/>
                  <a:pt x="417" y="229"/>
                </a:cubicBezTo>
                <a:cubicBezTo>
                  <a:pt x="417" y="292"/>
                  <a:pt x="417" y="292"/>
                  <a:pt x="417" y="292"/>
                </a:cubicBezTo>
                <a:cubicBezTo>
                  <a:pt x="531" y="292"/>
                  <a:pt x="531" y="292"/>
                  <a:pt x="531" y="292"/>
                </a:cubicBezTo>
                <a:cubicBezTo>
                  <a:pt x="510" y="375"/>
                  <a:pt x="510" y="375"/>
                  <a:pt x="510" y="375"/>
                </a:cubicBezTo>
                <a:cubicBezTo>
                  <a:pt x="417" y="375"/>
                  <a:pt x="417" y="375"/>
                  <a:pt x="417" y="375"/>
                </a:cubicBezTo>
                <a:cubicBezTo>
                  <a:pt x="417" y="667"/>
                  <a:pt x="417" y="667"/>
                  <a:pt x="417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24" name="Freeform 13">
            <a:hlinkClick r:id="rId10"/>
            <a:extLst>
              <a:ext uri="{FF2B5EF4-FFF2-40B4-BE49-F238E27FC236}">
                <a16:creationId xmlns:a16="http://schemas.microsoft.com/office/drawing/2014/main" id="{518D9D38-8FBA-43E8-A70A-6AC1E1C971C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196918" y="5852228"/>
            <a:ext cx="304800" cy="304800"/>
          </a:xfrm>
          <a:custGeom>
            <a:avLst/>
            <a:gdLst>
              <a:gd name="T0" fmla="*/ 499 w 667"/>
              <a:gd name="T1" fmla="*/ 248 h 667"/>
              <a:gd name="T2" fmla="*/ 499 w 667"/>
              <a:gd name="T3" fmla="*/ 259 h 667"/>
              <a:gd name="T4" fmla="*/ 256 w 667"/>
              <a:gd name="T5" fmla="*/ 503 h 667"/>
              <a:gd name="T6" fmla="*/ 125 w 667"/>
              <a:gd name="T7" fmla="*/ 464 h 667"/>
              <a:gd name="T8" fmla="*/ 145 w 667"/>
              <a:gd name="T9" fmla="*/ 465 h 667"/>
              <a:gd name="T10" fmla="*/ 252 w 667"/>
              <a:gd name="T11" fmla="*/ 429 h 667"/>
              <a:gd name="T12" fmla="*/ 172 w 667"/>
              <a:gd name="T13" fmla="*/ 369 h 667"/>
              <a:gd name="T14" fmla="*/ 188 w 667"/>
              <a:gd name="T15" fmla="*/ 371 h 667"/>
              <a:gd name="T16" fmla="*/ 210 w 667"/>
              <a:gd name="T17" fmla="*/ 368 h 667"/>
              <a:gd name="T18" fmla="*/ 142 w 667"/>
              <a:gd name="T19" fmla="*/ 284 h 667"/>
              <a:gd name="T20" fmla="*/ 142 w 667"/>
              <a:gd name="T21" fmla="*/ 283 h 667"/>
              <a:gd name="T22" fmla="*/ 180 w 667"/>
              <a:gd name="T23" fmla="*/ 294 h 667"/>
              <a:gd name="T24" fmla="*/ 142 w 667"/>
              <a:gd name="T25" fmla="*/ 223 h 667"/>
              <a:gd name="T26" fmla="*/ 154 w 667"/>
              <a:gd name="T27" fmla="*/ 180 h 667"/>
              <a:gd name="T28" fmla="*/ 330 w 667"/>
              <a:gd name="T29" fmla="*/ 269 h 667"/>
              <a:gd name="T30" fmla="*/ 328 w 667"/>
              <a:gd name="T31" fmla="*/ 249 h 667"/>
              <a:gd name="T32" fmla="*/ 413 w 667"/>
              <a:gd name="T33" fmla="*/ 164 h 667"/>
              <a:gd name="T34" fmla="*/ 476 w 667"/>
              <a:gd name="T35" fmla="*/ 191 h 667"/>
              <a:gd name="T36" fmla="*/ 530 w 667"/>
              <a:gd name="T37" fmla="*/ 170 h 667"/>
              <a:gd name="T38" fmla="*/ 492 w 667"/>
              <a:gd name="T39" fmla="*/ 218 h 667"/>
              <a:gd name="T40" fmla="*/ 542 w 667"/>
              <a:gd name="T41" fmla="*/ 204 h 667"/>
              <a:gd name="T42" fmla="*/ 499 w 667"/>
              <a:gd name="T43" fmla="*/ 248 h 667"/>
              <a:gd name="T44" fmla="*/ 630 w 667"/>
              <a:gd name="T45" fmla="*/ 37 h 667"/>
              <a:gd name="T46" fmla="*/ 542 w 667"/>
              <a:gd name="T47" fmla="*/ 0 h 667"/>
              <a:gd name="T48" fmla="*/ 125 w 667"/>
              <a:gd name="T49" fmla="*/ 0 h 667"/>
              <a:gd name="T50" fmla="*/ 37 w 667"/>
              <a:gd name="T51" fmla="*/ 37 h 667"/>
              <a:gd name="T52" fmla="*/ 0 w 667"/>
              <a:gd name="T53" fmla="*/ 125 h 667"/>
              <a:gd name="T54" fmla="*/ 0 w 667"/>
              <a:gd name="T55" fmla="*/ 542 h 667"/>
              <a:gd name="T56" fmla="*/ 37 w 667"/>
              <a:gd name="T57" fmla="*/ 630 h 667"/>
              <a:gd name="T58" fmla="*/ 125 w 667"/>
              <a:gd name="T59" fmla="*/ 667 h 667"/>
              <a:gd name="T60" fmla="*/ 542 w 667"/>
              <a:gd name="T61" fmla="*/ 667 h 667"/>
              <a:gd name="T62" fmla="*/ 630 w 667"/>
              <a:gd name="T63" fmla="*/ 630 h 667"/>
              <a:gd name="T64" fmla="*/ 667 w 667"/>
              <a:gd name="T65" fmla="*/ 542 h 667"/>
              <a:gd name="T66" fmla="*/ 667 w 667"/>
              <a:gd name="T67" fmla="*/ 125 h 667"/>
              <a:gd name="T68" fmla="*/ 630 w 667"/>
              <a:gd name="T69" fmla="*/ 37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67" h="667">
                <a:moveTo>
                  <a:pt x="499" y="248"/>
                </a:moveTo>
                <a:cubicBezTo>
                  <a:pt x="499" y="252"/>
                  <a:pt x="499" y="256"/>
                  <a:pt x="499" y="259"/>
                </a:cubicBezTo>
                <a:cubicBezTo>
                  <a:pt x="499" y="372"/>
                  <a:pt x="413" y="503"/>
                  <a:pt x="256" y="503"/>
                </a:cubicBezTo>
                <a:cubicBezTo>
                  <a:pt x="208" y="503"/>
                  <a:pt x="163" y="488"/>
                  <a:pt x="125" y="464"/>
                </a:cubicBezTo>
                <a:cubicBezTo>
                  <a:pt x="132" y="465"/>
                  <a:pt x="139" y="465"/>
                  <a:pt x="145" y="465"/>
                </a:cubicBezTo>
                <a:cubicBezTo>
                  <a:pt x="186" y="465"/>
                  <a:pt x="222" y="452"/>
                  <a:pt x="252" y="429"/>
                </a:cubicBezTo>
                <a:cubicBezTo>
                  <a:pt x="214" y="428"/>
                  <a:pt x="183" y="403"/>
                  <a:pt x="172" y="369"/>
                </a:cubicBezTo>
                <a:cubicBezTo>
                  <a:pt x="177" y="370"/>
                  <a:pt x="182" y="371"/>
                  <a:pt x="188" y="371"/>
                </a:cubicBezTo>
                <a:cubicBezTo>
                  <a:pt x="196" y="371"/>
                  <a:pt x="203" y="370"/>
                  <a:pt x="210" y="368"/>
                </a:cubicBezTo>
                <a:cubicBezTo>
                  <a:pt x="171" y="360"/>
                  <a:pt x="142" y="326"/>
                  <a:pt x="142" y="284"/>
                </a:cubicBezTo>
                <a:cubicBezTo>
                  <a:pt x="142" y="283"/>
                  <a:pt x="142" y="283"/>
                  <a:pt x="142" y="283"/>
                </a:cubicBezTo>
                <a:cubicBezTo>
                  <a:pt x="153" y="289"/>
                  <a:pt x="167" y="293"/>
                  <a:pt x="180" y="294"/>
                </a:cubicBezTo>
                <a:cubicBezTo>
                  <a:pt x="158" y="278"/>
                  <a:pt x="142" y="252"/>
                  <a:pt x="142" y="223"/>
                </a:cubicBezTo>
                <a:cubicBezTo>
                  <a:pt x="142" y="207"/>
                  <a:pt x="147" y="192"/>
                  <a:pt x="154" y="180"/>
                </a:cubicBezTo>
                <a:cubicBezTo>
                  <a:pt x="196" y="231"/>
                  <a:pt x="259" y="265"/>
                  <a:pt x="330" y="269"/>
                </a:cubicBezTo>
                <a:cubicBezTo>
                  <a:pt x="329" y="263"/>
                  <a:pt x="328" y="256"/>
                  <a:pt x="328" y="249"/>
                </a:cubicBezTo>
                <a:cubicBezTo>
                  <a:pt x="328" y="202"/>
                  <a:pt x="366" y="164"/>
                  <a:pt x="413" y="164"/>
                </a:cubicBezTo>
                <a:cubicBezTo>
                  <a:pt x="438" y="164"/>
                  <a:pt x="460" y="174"/>
                  <a:pt x="476" y="191"/>
                </a:cubicBezTo>
                <a:cubicBezTo>
                  <a:pt x="495" y="187"/>
                  <a:pt x="514" y="180"/>
                  <a:pt x="530" y="170"/>
                </a:cubicBezTo>
                <a:cubicBezTo>
                  <a:pt x="524" y="190"/>
                  <a:pt x="510" y="207"/>
                  <a:pt x="492" y="218"/>
                </a:cubicBezTo>
                <a:cubicBezTo>
                  <a:pt x="510" y="215"/>
                  <a:pt x="526" y="211"/>
                  <a:pt x="542" y="204"/>
                </a:cubicBezTo>
                <a:cubicBezTo>
                  <a:pt x="530" y="221"/>
                  <a:pt x="516" y="236"/>
                  <a:pt x="499" y="248"/>
                </a:cubicBezTo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34" name="Freeform 17">
            <a:hlinkClick r:id="rId11"/>
            <a:extLst>
              <a:ext uri="{FF2B5EF4-FFF2-40B4-BE49-F238E27FC236}">
                <a16:creationId xmlns:a16="http://schemas.microsoft.com/office/drawing/2014/main" id="{2E4892AB-337D-4B9C-ADBA-F7E0A3D0659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699471" y="5852228"/>
            <a:ext cx="303576" cy="304800"/>
          </a:xfrm>
          <a:custGeom>
            <a:avLst/>
            <a:gdLst>
              <a:gd name="T0" fmla="*/ 341 w 667"/>
              <a:gd name="T1" fmla="*/ 211 h 667"/>
              <a:gd name="T2" fmla="*/ 313 w 667"/>
              <a:gd name="T3" fmla="*/ 143 h 667"/>
              <a:gd name="T4" fmla="*/ 172 w 667"/>
              <a:gd name="T5" fmla="*/ 41 h 667"/>
              <a:gd name="T6" fmla="*/ 192 w 667"/>
              <a:gd name="T7" fmla="*/ 101 h 667"/>
              <a:gd name="T8" fmla="*/ 244 w 667"/>
              <a:gd name="T9" fmla="*/ 257 h 667"/>
              <a:gd name="T10" fmla="*/ 251 w 667"/>
              <a:gd name="T11" fmla="*/ 41 h 667"/>
              <a:gd name="T12" fmla="*/ 423 w 667"/>
              <a:gd name="T13" fmla="*/ 96 h 667"/>
              <a:gd name="T14" fmla="*/ 396 w 667"/>
              <a:gd name="T15" fmla="*/ 247 h 667"/>
              <a:gd name="T16" fmla="*/ 448 w 667"/>
              <a:gd name="T17" fmla="*/ 257 h 667"/>
              <a:gd name="T18" fmla="*/ 448 w 667"/>
              <a:gd name="T19" fmla="*/ 96 h 667"/>
              <a:gd name="T20" fmla="*/ 423 w 667"/>
              <a:gd name="T21" fmla="*/ 226 h 667"/>
              <a:gd name="T22" fmla="*/ 327 w 667"/>
              <a:gd name="T23" fmla="*/ 94 h 667"/>
              <a:gd name="T24" fmla="*/ 284 w 667"/>
              <a:gd name="T25" fmla="*/ 205 h 667"/>
              <a:gd name="T26" fmla="*/ 361 w 667"/>
              <a:gd name="T27" fmla="*/ 243 h 667"/>
              <a:gd name="T28" fmla="*/ 361 w 667"/>
              <a:gd name="T29" fmla="*/ 111 h 667"/>
              <a:gd name="T30" fmla="*/ 479 w 667"/>
              <a:gd name="T31" fmla="*/ 442 h 667"/>
              <a:gd name="T32" fmla="*/ 507 w 667"/>
              <a:gd name="T33" fmla="*/ 442 h 667"/>
              <a:gd name="T34" fmla="*/ 372 w 667"/>
              <a:gd name="T35" fmla="*/ 427 h 667"/>
              <a:gd name="T36" fmla="*/ 399 w 667"/>
              <a:gd name="T37" fmla="*/ 510 h 667"/>
              <a:gd name="T38" fmla="*/ 231 w 667"/>
              <a:gd name="T39" fmla="*/ 342 h 667"/>
              <a:gd name="T40" fmla="*/ 196 w 667"/>
              <a:gd name="T41" fmla="*/ 556 h 667"/>
              <a:gd name="T42" fmla="*/ 130 w 667"/>
              <a:gd name="T43" fmla="*/ 372 h 667"/>
              <a:gd name="T44" fmla="*/ 372 w 667"/>
              <a:gd name="T45" fmla="*/ 342 h 667"/>
              <a:gd name="T46" fmla="*/ 424 w 667"/>
              <a:gd name="T47" fmla="*/ 412 h 667"/>
              <a:gd name="T48" fmla="*/ 424 w 667"/>
              <a:gd name="T49" fmla="*/ 539 h 667"/>
              <a:gd name="T50" fmla="*/ 372 w 667"/>
              <a:gd name="T51" fmla="*/ 555 h 667"/>
              <a:gd name="T52" fmla="*/ 372 w 667"/>
              <a:gd name="T53" fmla="*/ 342 h 667"/>
              <a:gd name="T54" fmla="*/ 264 w 667"/>
              <a:gd name="T55" fmla="*/ 525 h 667"/>
              <a:gd name="T56" fmla="*/ 289 w 667"/>
              <a:gd name="T57" fmla="*/ 396 h 667"/>
              <a:gd name="T58" fmla="*/ 289 w 667"/>
              <a:gd name="T59" fmla="*/ 555 h 667"/>
              <a:gd name="T60" fmla="*/ 238 w 667"/>
              <a:gd name="T61" fmla="*/ 546 h 667"/>
              <a:gd name="T62" fmla="*/ 264 w 667"/>
              <a:gd name="T63" fmla="*/ 396 h 667"/>
              <a:gd name="T64" fmla="*/ 536 w 667"/>
              <a:gd name="T65" fmla="*/ 448 h 667"/>
              <a:gd name="T66" fmla="*/ 479 w 667"/>
              <a:gd name="T67" fmla="*/ 509 h 667"/>
              <a:gd name="T68" fmla="*/ 507 w 667"/>
              <a:gd name="T69" fmla="*/ 517 h 667"/>
              <a:gd name="T70" fmla="*/ 536 w 667"/>
              <a:gd name="T71" fmla="*/ 501 h 667"/>
              <a:gd name="T72" fmla="*/ 529 w 667"/>
              <a:gd name="T73" fmla="*/ 540 h 667"/>
              <a:gd name="T74" fmla="*/ 450 w 667"/>
              <a:gd name="T75" fmla="*/ 504 h 667"/>
              <a:gd name="T76" fmla="*/ 493 w 667"/>
              <a:gd name="T77" fmla="*/ 394 h 667"/>
              <a:gd name="T78" fmla="*/ 122 w 667"/>
              <a:gd name="T79" fmla="*/ 307 h 667"/>
              <a:gd name="T80" fmla="*/ 103 w 667"/>
              <a:gd name="T81" fmla="*/ 565 h 667"/>
              <a:gd name="T82" fmla="*/ 333 w 667"/>
              <a:gd name="T83" fmla="*/ 618 h 667"/>
              <a:gd name="T84" fmla="*/ 563 w 667"/>
              <a:gd name="T85" fmla="*/ 565 h 667"/>
              <a:gd name="T86" fmla="*/ 545 w 667"/>
              <a:gd name="T87" fmla="*/ 307 h 667"/>
              <a:gd name="T88" fmla="*/ 542 w 667"/>
              <a:gd name="T89" fmla="*/ 0 h 667"/>
              <a:gd name="T90" fmla="*/ 667 w 667"/>
              <a:gd name="T91" fmla="*/ 542 h 667"/>
              <a:gd name="T92" fmla="*/ 125 w 667"/>
              <a:gd name="T93" fmla="*/ 667 h 667"/>
              <a:gd name="T94" fmla="*/ 0 w 667"/>
              <a:gd name="T95" fmla="*/ 125 h 667"/>
              <a:gd name="T96" fmla="*/ 542 w 667"/>
              <a:gd name="T97" fmla="*/ 0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67" h="667">
                <a:moveTo>
                  <a:pt x="327" y="120"/>
                </a:moveTo>
                <a:cubicBezTo>
                  <a:pt x="336" y="120"/>
                  <a:pt x="341" y="128"/>
                  <a:pt x="341" y="143"/>
                </a:cubicBezTo>
                <a:cubicBezTo>
                  <a:pt x="341" y="211"/>
                  <a:pt x="341" y="211"/>
                  <a:pt x="341" y="211"/>
                </a:cubicBezTo>
                <a:cubicBezTo>
                  <a:pt x="341" y="225"/>
                  <a:pt x="336" y="233"/>
                  <a:pt x="327" y="233"/>
                </a:cubicBezTo>
                <a:cubicBezTo>
                  <a:pt x="318" y="233"/>
                  <a:pt x="313" y="225"/>
                  <a:pt x="313" y="211"/>
                </a:cubicBezTo>
                <a:cubicBezTo>
                  <a:pt x="313" y="143"/>
                  <a:pt x="313" y="143"/>
                  <a:pt x="313" y="143"/>
                </a:cubicBezTo>
                <a:cubicBezTo>
                  <a:pt x="313" y="128"/>
                  <a:pt x="318" y="120"/>
                  <a:pt x="327" y="120"/>
                </a:cubicBezTo>
                <a:close/>
                <a:moveTo>
                  <a:pt x="206" y="41"/>
                </a:moveTo>
                <a:cubicBezTo>
                  <a:pt x="172" y="41"/>
                  <a:pt x="172" y="41"/>
                  <a:pt x="172" y="41"/>
                </a:cubicBezTo>
                <a:cubicBezTo>
                  <a:pt x="182" y="71"/>
                  <a:pt x="182" y="71"/>
                  <a:pt x="182" y="71"/>
                </a:cubicBezTo>
                <a:cubicBezTo>
                  <a:pt x="182" y="71"/>
                  <a:pt x="185" y="78"/>
                  <a:pt x="189" y="93"/>
                </a:cubicBezTo>
                <a:cubicBezTo>
                  <a:pt x="192" y="101"/>
                  <a:pt x="192" y="101"/>
                  <a:pt x="192" y="101"/>
                </a:cubicBezTo>
                <a:cubicBezTo>
                  <a:pt x="202" y="131"/>
                  <a:pt x="209" y="154"/>
                  <a:pt x="212" y="170"/>
                </a:cubicBezTo>
                <a:cubicBezTo>
                  <a:pt x="212" y="257"/>
                  <a:pt x="212" y="257"/>
                  <a:pt x="212" y="257"/>
                </a:cubicBezTo>
                <a:cubicBezTo>
                  <a:pt x="244" y="257"/>
                  <a:pt x="244" y="257"/>
                  <a:pt x="244" y="257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83" y="41"/>
                  <a:pt x="283" y="41"/>
                  <a:pt x="283" y="41"/>
                </a:cubicBezTo>
                <a:cubicBezTo>
                  <a:pt x="251" y="41"/>
                  <a:pt x="251" y="41"/>
                  <a:pt x="251" y="41"/>
                </a:cubicBezTo>
                <a:cubicBezTo>
                  <a:pt x="229" y="126"/>
                  <a:pt x="229" y="126"/>
                  <a:pt x="229" y="126"/>
                </a:cubicBezTo>
                <a:lnTo>
                  <a:pt x="206" y="41"/>
                </a:lnTo>
                <a:close/>
                <a:moveTo>
                  <a:pt x="423" y="96"/>
                </a:moveTo>
                <a:cubicBezTo>
                  <a:pt x="393" y="96"/>
                  <a:pt x="393" y="96"/>
                  <a:pt x="393" y="96"/>
                </a:cubicBezTo>
                <a:cubicBezTo>
                  <a:pt x="393" y="224"/>
                  <a:pt x="393" y="224"/>
                  <a:pt x="393" y="224"/>
                </a:cubicBezTo>
                <a:cubicBezTo>
                  <a:pt x="393" y="234"/>
                  <a:pt x="394" y="242"/>
                  <a:pt x="396" y="247"/>
                </a:cubicBezTo>
                <a:cubicBezTo>
                  <a:pt x="399" y="255"/>
                  <a:pt x="405" y="259"/>
                  <a:pt x="415" y="259"/>
                </a:cubicBezTo>
                <a:cubicBezTo>
                  <a:pt x="425" y="259"/>
                  <a:pt x="436" y="253"/>
                  <a:pt x="448" y="240"/>
                </a:cubicBezTo>
                <a:cubicBezTo>
                  <a:pt x="448" y="257"/>
                  <a:pt x="448" y="257"/>
                  <a:pt x="448" y="257"/>
                </a:cubicBezTo>
                <a:cubicBezTo>
                  <a:pt x="477" y="257"/>
                  <a:pt x="477" y="257"/>
                  <a:pt x="477" y="257"/>
                </a:cubicBezTo>
                <a:cubicBezTo>
                  <a:pt x="477" y="96"/>
                  <a:pt x="477" y="96"/>
                  <a:pt x="477" y="96"/>
                </a:cubicBezTo>
                <a:cubicBezTo>
                  <a:pt x="448" y="96"/>
                  <a:pt x="448" y="96"/>
                  <a:pt x="448" y="96"/>
                </a:cubicBezTo>
                <a:cubicBezTo>
                  <a:pt x="448" y="219"/>
                  <a:pt x="448" y="219"/>
                  <a:pt x="448" y="219"/>
                </a:cubicBezTo>
                <a:cubicBezTo>
                  <a:pt x="442" y="228"/>
                  <a:pt x="436" y="233"/>
                  <a:pt x="430" y="233"/>
                </a:cubicBezTo>
                <a:cubicBezTo>
                  <a:pt x="426" y="233"/>
                  <a:pt x="423" y="230"/>
                  <a:pt x="423" y="226"/>
                </a:cubicBezTo>
                <a:cubicBezTo>
                  <a:pt x="423" y="225"/>
                  <a:pt x="423" y="221"/>
                  <a:pt x="423" y="214"/>
                </a:cubicBezTo>
                <a:lnTo>
                  <a:pt x="423" y="96"/>
                </a:lnTo>
                <a:close/>
                <a:moveTo>
                  <a:pt x="327" y="94"/>
                </a:moveTo>
                <a:cubicBezTo>
                  <a:pt x="312" y="94"/>
                  <a:pt x="301" y="100"/>
                  <a:pt x="293" y="111"/>
                </a:cubicBezTo>
                <a:cubicBezTo>
                  <a:pt x="287" y="119"/>
                  <a:pt x="284" y="132"/>
                  <a:pt x="284" y="148"/>
                </a:cubicBezTo>
                <a:cubicBezTo>
                  <a:pt x="284" y="205"/>
                  <a:pt x="284" y="205"/>
                  <a:pt x="284" y="205"/>
                </a:cubicBezTo>
                <a:cubicBezTo>
                  <a:pt x="284" y="222"/>
                  <a:pt x="287" y="234"/>
                  <a:pt x="293" y="243"/>
                </a:cubicBezTo>
                <a:cubicBezTo>
                  <a:pt x="301" y="254"/>
                  <a:pt x="312" y="259"/>
                  <a:pt x="327" y="259"/>
                </a:cubicBezTo>
                <a:cubicBezTo>
                  <a:pt x="341" y="259"/>
                  <a:pt x="352" y="254"/>
                  <a:pt x="361" y="243"/>
                </a:cubicBezTo>
                <a:cubicBezTo>
                  <a:pt x="367" y="235"/>
                  <a:pt x="370" y="222"/>
                  <a:pt x="370" y="205"/>
                </a:cubicBezTo>
                <a:cubicBezTo>
                  <a:pt x="370" y="148"/>
                  <a:pt x="370" y="148"/>
                  <a:pt x="370" y="148"/>
                </a:cubicBezTo>
                <a:cubicBezTo>
                  <a:pt x="370" y="132"/>
                  <a:pt x="367" y="119"/>
                  <a:pt x="361" y="111"/>
                </a:cubicBezTo>
                <a:cubicBezTo>
                  <a:pt x="352" y="100"/>
                  <a:pt x="341" y="94"/>
                  <a:pt x="327" y="94"/>
                </a:cubicBezTo>
                <a:close/>
                <a:moveTo>
                  <a:pt x="493" y="420"/>
                </a:moveTo>
                <a:cubicBezTo>
                  <a:pt x="484" y="420"/>
                  <a:pt x="479" y="428"/>
                  <a:pt x="479" y="442"/>
                </a:cubicBezTo>
                <a:cubicBezTo>
                  <a:pt x="479" y="457"/>
                  <a:pt x="479" y="457"/>
                  <a:pt x="479" y="457"/>
                </a:cubicBezTo>
                <a:cubicBezTo>
                  <a:pt x="507" y="457"/>
                  <a:pt x="507" y="457"/>
                  <a:pt x="507" y="457"/>
                </a:cubicBezTo>
                <a:cubicBezTo>
                  <a:pt x="507" y="442"/>
                  <a:pt x="507" y="442"/>
                  <a:pt x="507" y="442"/>
                </a:cubicBezTo>
                <a:cubicBezTo>
                  <a:pt x="507" y="428"/>
                  <a:pt x="503" y="420"/>
                  <a:pt x="493" y="420"/>
                </a:cubicBezTo>
                <a:close/>
                <a:moveTo>
                  <a:pt x="386" y="420"/>
                </a:moveTo>
                <a:cubicBezTo>
                  <a:pt x="381" y="420"/>
                  <a:pt x="377" y="422"/>
                  <a:pt x="372" y="427"/>
                </a:cubicBezTo>
                <a:cubicBezTo>
                  <a:pt x="372" y="524"/>
                  <a:pt x="372" y="524"/>
                  <a:pt x="372" y="524"/>
                </a:cubicBezTo>
                <a:cubicBezTo>
                  <a:pt x="377" y="529"/>
                  <a:pt x="381" y="531"/>
                  <a:pt x="386" y="531"/>
                </a:cubicBezTo>
                <a:cubicBezTo>
                  <a:pt x="395" y="531"/>
                  <a:pt x="399" y="524"/>
                  <a:pt x="399" y="510"/>
                </a:cubicBezTo>
                <a:cubicBezTo>
                  <a:pt x="399" y="442"/>
                  <a:pt x="399" y="442"/>
                  <a:pt x="399" y="442"/>
                </a:cubicBezTo>
                <a:cubicBezTo>
                  <a:pt x="399" y="427"/>
                  <a:pt x="395" y="420"/>
                  <a:pt x="386" y="420"/>
                </a:cubicBezTo>
                <a:close/>
                <a:moveTo>
                  <a:pt x="231" y="342"/>
                </a:moveTo>
                <a:cubicBezTo>
                  <a:pt x="231" y="372"/>
                  <a:pt x="231" y="372"/>
                  <a:pt x="231" y="372"/>
                </a:cubicBezTo>
                <a:cubicBezTo>
                  <a:pt x="196" y="372"/>
                  <a:pt x="196" y="372"/>
                  <a:pt x="196" y="372"/>
                </a:cubicBezTo>
                <a:cubicBezTo>
                  <a:pt x="196" y="556"/>
                  <a:pt x="196" y="556"/>
                  <a:pt x="196" y="556"/>
                </a:cubicBezTo>
                <a:cubicBezTo>
                  <a:pt x="164" y="556"/>
                  <a:pt x="164" y="556"/>
                  <a:pt x="164" y="556"/>
                </a:cubicBezTo>
                <a:cubicBezTo>
                  <a:pt x="164" y="372"/>
                  <a:pt x="164" y="372"/>
                  <a:pt x="164" y="372"/>
                </a:cubicBezTo>
                <a:cubicBezTo>
                  <a:pt x="130" y="372"/>
                  <a:pt x="130" y="372"/>
                  <a:pt x="130" y="372"/>
                </a:cubicBezTo>
                <a:cubicBezTo>
                  <a:pt x="130" y="342"/>
                  <a:pt x="130" y="342"/>
                  <a:pt x="130" y="342"/>
                </a:cubicBezTo>
                <a:lnTo>
                  <a:pt x="231" y="342"/>
                </a:lnTo>
                <a:close/>
                <a:moveTo>
                  <a:pt x="372" y="342"/>
                </a:moveTo>
                <a:cubicBezTo>
                  <a:pt x="372" y="411"/>
                  <a:pt x="372" y="411"/>
                  <a:pt x="372" y="411"/>
                </a:cubicBezTo>
                <a:cubicBezTo>
                  <a:pt x="381" y="400"/>
                  <a:pt x="391" y="394"/>
                  <a:pt x="401" y="394"/>
                </a:cubicBezTo>
                <a:cubicBezTo>
                  <a:pt x="413" y="394"/>
                  <a:pt x="421" y="400"/>
                  <a:pt x="424" y="412"/>
                </a:cubicBezTo>
                <a:cubicBezTo>
                  <a:pt x="426" y="418"/>
                  <a:pt x="427" y="429"/>
                  <a:pt x="427" y="444"/>
                </a:cubicBezTo>
                <a:cubicBezTo>
                  <a:pt x="427" y="508"/>
                  <a:pt x="427" y="508"/>
                  <a:pt x="427" y="508"/>
                </a:cubicBezTo>
                <a:cubicBezTo>
                  <a:pt x="427" y="523"/>
                  <a:pt x="427" y="533"/>
                  <a:pt x="424" y="539"/>
                </a:cubicBezTo>
                <a:cubicBezTo>
                  <a:pt x="421" y="552"/>
                  <a:pt x="413" y="558"/>
                  <a:pt x="401" y="558"/>
                </a:cubicBezTo>
                <a:cubicBezTo>
                  <a:pt x="391" y="558"/>
                  <a:pt x="381" y="552"/>
                  <a:pt x="372" y="540"/>
                </a:cubicBezTo>
                <a:cubicBezTo>
                  <a:pt x="372" y="555"/>
                  <a:pt x="372" y="555"/>
                  <a:pt x="372" y="555"/>
                </a:cubicBezTo>
                <a:cubicBezTo>
                  <a:pt x="343" y="555"/>
                  <a:pt x="343" y="555"/>
                  <a:pt x="343" y="555"/>
                </a:cubicBezTo>
                <a:cubicBezTo>
                  <a:pt x="343" y="342"/>
                  <a:pt x="343" y="342"/>
                  <a:pt x="343" y="342"/>
                </a:cubicBezTo>
                <a:lnTo>
                  <a:pt x="372" y="342"/>
                </a:lnTo>
                <a:close/>
                <a:moveTo>
                  <a:pt x="264" y="396"/>
                </a:moveTo>
                <a:cubicBezTo>
                  <a:pt x="264" y="516"/>
                  <a:pt x="264" y="516"/>
                  <a:pt x="264" y="516"/>
                </a:cubicBezTo>
                <a:cubicBezTo>
                  <a:pt x="264" y="521"/>
                  <a:pt x="264" y="524"/>
                  <a:pt x="264" y="525"/>
                </a:cubicBezTo>
                <a:cubicBezTo>
                  <a:pt x="265" y="529"/>
                  <a:pt x="267" y="531"/>
                  <a:pt x="271" y="531"/>
                </a:cubicBezTo>
                <a:cubicBezTo>
                  <a:pt x="277" y="531"/>
                  <a:pt x="283" y="527"/>
                  <a:pt x="289" y="518"/>
                </a:cubicBezTo>
                <a:cubicBezTo>
                  <a:pt x="289" y="396"/>
                  <a:pt x="289" y="396"/>
                  <a:pt x="289" y="396"/>
                </a:cubicBezTo>
                <a:cubicBezTo>
                  <a:pt x="318" y="396"/>
                  <a:pt x="318" y="396"/>
                  <a:pt x="318" y="396"/>
                </a:cubicBezTo>
                <a:cubicBezTo>
                  <a:pt x="318" y="555"/>
                  <a:pt x="318" y="555"/>
                  <a:pt x="318" y="555"/>
                </a:cubicBezTo>
                <a:cubicBezTo>
                  <a:pt x="289" y="555"/>
                  <a:pt x="289" y="555"/>
                  <a:pt x="289" y="555"/>
                </a:cubicBezTo>
                <a:cubicBezTo>
                  <a:pt x="289" y="538"/>
                  <a:pt x="289" y="538"/>
                  <a:pt x="289" y="538"/>
                </a:cubicBezTo>
                <a:cubicBezTo>
                  <a:pt x="278" y="551"/>
                  <a:pt x="267" y="558"/>
                  <a:pt x="256" y="558"/>
                </a:cubicBezTo>
                <a:cubicBezTo>
                  <a:pt x="247" y="558"/>
                  <a:pt x="240" y="554"/>
                  <a:pt x="238" y="546"/>
                </a:cubicBezTo>
                <a:cubicBezTo>
                  <a:pt x="236" y="541"/>
                  <a:pt x="235" y="533"/>
                  <a:pt x="235" y="522"/>
                </a:cubicBezTo>
                <a:cubicBezTo>
                  <a:pt x="235" y="396"/>
                  <a:pt x="235" y="396"/>
                  <a:pt x="235" y="396"/>
                </a:cubicBezTo>
                <a:lnTo>
                  <a:pt x="264" y="396"/>
                </a:lnTo>
                <a:close/>
                <a:moveTo>
                  <a:pt x="493" y="394"/>
                </a:moveTo>
                <a:cubicBezTo>
                  <a:pt x="508" y="394"/>
                  <a:pt x="520" y="400"/>
                  <a:pt x="527" y="411"/>
                </a:cubicBezTo>
                <a:cubicBezTo>
                  <a:pt x="533" y="419"/>
                  <a:pt x="536" y="431"/>
                  <a:pt x="536" y="448"/>
                </a:cubicBezTo>
                <a:cubicBezTo>
                  <a:pt x="536" y="481"/>
                  <a:pt x="536" y="481"/>
                  <a:pt x="536" y="481"/>
                </a:cubicBezTo>
                <a:cubicBezTo>
                  <a:pt x="479" y="481"/>
                  <a:pt x="479" y="481"/>
                  <a:pt x="479" y="481"/>
                </a:cubicBezTo>
                <a:cubicBezTo>
                  <a:pt x="479" y="509"/>
                  <a:pt x="479" y="509"/>
                  <a:pt x="479" y="509"/>
                </a:cubicBezTo>
                <a:cubicBezTo>
                  <a:pt x="479" y="524"/>
                  <a:pt x="483" y="531"/>
                  <a:pt x="493" y="531"/>
                </a:cubicBezTo>
                <a:cubicBezTo>
                  <a:pt x="500" y="531"/>
                  <a:pt x="505" y="527"/>
                  <a:pt x="506" y="520"/>
                </a:cubicBezTo>
                <a:cubicBezTo>
                  <a:pt x="506" y="520"/>
                  <a:pt x="507" y="519"/>
                  <a:pt x="507" y="517"/>
                </a:cubicBezTo>
                <a:cubicBezTo>
                  <a:pt x="507" y="515"/>
                  <a:pt x="507" y="513"/>
                  <a:pt x="507" y="510"/>
                </a:cubicBezTo>
                <a:cubicBezTo>
                  <a:pt x="507" y="501"/>
                  <a:pt x="507" y="501"/>
                  <a:pt x="507" y="501"/>
                </a:cubicBezTo>
                <a:cubicBezTo>
                  <a:pt x="536" y="501"/>
                  <a:pt x="536" y="501"/>
                  <a:pt x="536" y="501"/>
                </a:cubicBezTo>
                <a:cubicBezTo>
                  <a:pt x="536" y="505"/>
                  <a:pt x="536" y="505"/>
                  <a:pt x="536" y="505"/>
                </a:cubicBezTo>
                <a:cubicBezTo>
                  <a:pt x="536" y="513"/>
                  <a:pt x="536" y="519"/>
                  <a:pt x="536" y="523"/>
                </a:cubicBezTo>
                <a:cubicBezTo>
                  <a:pt x="535" y="530"/>
                  <a:pt x="533" y="535"/>
                  <a:pt x="529" y="540"/>
                </a:cubicBezTo>
                <a:cubicBezTo>
                  <a:pt x="521" y="552"/>
                  <a:pt x="510" y="558"/>
                  <a:pt x="494" y="558"/>
                </a:cubicBezTo>
                <a:cubicBezTo>
                  <a:pt x="479" y="558"/>
                  <a:pt x="467" y="552"/>
                  <a:pt x="459" y="541"/>
                </a:cubicBezTo>
                <a:cubicBezTo>
                  <a:pt x="453" y="533"/>
                  <a:pt x="450" y="521"/>
                  <a:pt x="450" y="504"/>
                </a:cubicBezTo>
                <a:cubicBezTo>
                  <a:pt x="450" y="448"/>
                  <a:pt x="450" y="448"/>
                  <a:pt x="450" y="448"/>
                </a:cubicBezTo>
                <a:cubicBezTo>
                  <a:pt x="450" y="431"/>
                  <a:pt x="453" y="418"/>
                  <a:pt x="459" y="411"/>
                </a:cubicBezTo>
                <a:cubicBezTo>
                  <a:pt x="467" y="399"/>
                  <a:pt x="479" y="394"/>
                  <a:pt x="493" y="394"/>
                </a:cubicBezTo>
                <a:close/>
                <a:moveTo>
                  <a:pt x="333" y="286"/>
                </a:moveTo>
                <a:cubicBezTo>
                  <a:pt x="254" y="286"/>
                  <a:pt x="194" y="288"/>
                  <a:pt x="155" y="292"/>
                </a:cubicBezTo>
                <a:cubicBezTo>
                  <a:pt x="142" y="294"/>
                  <a:pt x="131" y="299"/>
                  <a:pt x="122" y="307"/>
                </a:cubicBezTo>
                <a:cubicBezTo>
                  <a:pt x="112" y="316"/>
                  <a:pt x="106" y="327"/>
                  <a:pt x="103" y="339"/>
                </a:cubicBezTo>
                <a:cubicBezTo>
                  <a:pt x="97" y="365"/>
                  <a:pt x="95" y="402"/>
                  <a:pt x="95" y="452"/>
                </a:cubicBezTo>
                <a:cubicBezTo>
                  <a:pt x="95" y="503"/>
                  <a:pt x="98" y="541"/>
                  <a:pt x="103" y="565"/>
                </a:cubicBezTo>
                <a:cubicBezTo>
                  <a:pt x="106" y="577"/>
                  <a:pt x="112" y="588"/>
                  <a:pt x="122" y="597"/>
                </a:cubicBezTo>
                <a:cubicBezTo>
                  <a:pt x="131" y="605"/>
                  <a:pt x="142" y="611"/>
                  <a:pt x="155" y="612"/>
                </a:cubicBezTo>
                <a:cubicBezTo>
                  <a:pt x="194" y="616"/>
                  <a:pt x="254" y="618"/>
                  <a:pt x="333" y="618"/>
                </a:cubicBezTo>
                <a:cubicBezTo>
                  <a:pt x="413" y="618"/>
                  <a:pt x="473" y="616"/>
                  <a:pt x="512" y="612"/>
                </a:cubicBezTo>
                <a:cubicBezTo>
                  <a:pt x="525" y="611"/>
                  <a:pt x="536" y="605"/>
                  <a:pt x="545" y="597"/>
                </a:cubicBezTo>
                <a:cubicBezTo>
                  <a:pt x="554" y="588"/>
                  <a:pt x="561" y="578"/>
                  <a:pt x="563" y="565"/>
                </a:cubicBezTo>
                <a:cubicBezTo>
                  <a:pt x="569" y="541"/>
                  <a:pt x="572" y="503"/>
                  <a:pt x="572" y="452"/>
                </a:cubicBezTo>
                <a:cubicBezTo>
                  <a:pt x="572" y="401"/>
                  <a:pt x="569" y="363"/>
                  <a:pt x="564" y="339"/>
                </a:cubicBezTo>
                <a:cubicBezTo>
                  <a:pt x="561" y="327"/>
                  <a:pt x="555" y="316"/>
                  <a:pt x="545" y="307"/>
                </a:cubicBezTo>
                <a:cubicBezTo>
                  <a:pt x="536" y="299"/>
                  <a:pt x="525" y="294"/>
                  <a:pt x="512" y="292"/>
                </a:cubicBezTo>
                <a:cubicBezTo>
                  <a:pt x="473" y="288"/>
                  <a:pt x="413" y="286"/>
                  <a:pt x="333" y="286"/>
                </a:cubicBezTo>
                <a:close/>
                <a:moveTo>
                  <a:pt x="542" y="0"/>
                </a:moveTo>
                <a:cubicBezTo>
                  <a:pt x="576" y="0"/>
                  <a:pt x="606" y="12"/>
                  <a:pt x="630" y="37"/>
                </a:cubicBezTo>
                <a:cubicBezTo>
                  <a:pt x="654" y="61"/>
                  <a:pt x="667" y="91"/>
                  <a:pt x="667" y="125"/>
                </a:cubicBezTo>
                <a:cubicBezTo>
                  <a:pt x="667" y="542"/>
                  <a:pt x="667" y="542"/>
                  <a:pt x="667" y="542"/>
                </a:cubicBezTo>
                <a:cubicBezTo>
                  <a:pt x="667" y="576"/>
                  <a:pt x="654" y="605"/>
                  <a:pt x="630" y="630"/>
                </a:cubicBezTo>
                <a:cubicBezTo>
                  <a:pt x="606" y="654"/>
                  <a:pt x="576" y="667"/>
                  <a:pt x="542" y="667"/>
                </a:cubicBezTo>
                <a:cubicBezTo>
                  <a:pt x="125" y="667"/>
                  <a:pt x="125" y="667"/>
                  <a:pt x="125" y="667"/>
                </a:cubicBezTo>
                <a:cubicBezTo>
                  <a:pt x="91" y="667"/>
                  <a:pt x="61" y="654"/>
                  <a:pt x="37" y="630"/>
                </a:cubicBezTo>
                <a:cubicBezTo>
                  <a:pt x="12" y="606"/>
                  <a:pt x="0" y="576"/>
                  <a:pt x="0" y="542"/>
                </a:cubicBezTo>
                <a:cubicBezTo>
                  <a:pt x="0" y="125"/>
                  <a:pt x="0" y="125"/>
                  <a:pt x="0" y="125"/>
                </a:cubicBezTo>
                <a:cubicBezTo>
                  <a:pt x="0" y="91"/>
                  <a:pt x="12" y="61"/>
                  <a:pt x="37" y="37"/>
                </a:cubicBezTo>
                <a:cubicBezTo>
                  <a:pt x="61" y="12"/>
                  <a:pt x="91" y="0"/>
                  <a:pt x="125" y="0"/>
                </a:cubicBezTo>
                <a:lnTo>
                  <a:pt x="542" y="0"/>
                </a:ln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51" name="Freeform 21">
            <a:hlinkClick r:id="rId12"/>
            <a:extLst>
              <a:ext uri="{FF2B5EF4-FFF2-40B4-BE49-F238E27FC236}">
                <a16:creationId xmlns:a16="http://schemas.microsoft.com/office/drawing/2014/main" id="{3BAD8605-8820-4291-B5D2-5014FFE6CF1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200799" y="5852228"/>
            <a:ext cx="304800" cy="304800"/>
          </a:xfrm>
          <a:custGeom>
            <a:avLst/>
            <a:gdLst>
              <a:gd name="T0" fmla="*/ 630 w 667"/>
              <a:gd name="T1" fmla="*/ 37 h 667"/>
              <a:gd name="T2" fmla="*/ 542 w 667"/>
              <a:gd name="T3" fmla="*/ 0 h 667"/>
              <a:gd name="T4" fmla="*/ 125 w 667"/>
              <a:gd name="T5" fmla="*/ 0 h 667"/>
              <a:gd name="T6" fmla="*/ 37 w 667"/>
              <a:gd name="T7" fmla="*/ 37 h 667"/>
              <a:gd name="T8" fmla="*/ 0 w 667"/>
              <a:gd name="T9" fmla="*/ 125 h 667"/>
              <a:gd name="T10" fmla="*/ 0 w 667"/>
              <a:gd name="T11" fmla="*/ 542 h 667"/>
              <a:gd name="T12" fmla="*/ 37 w 667"/>
              <a:gd name="T13" fmla="*/ 630 h 667"/>
              <a:gd name="T14" fmla="*/ 125 w 667"/>
              <a:gd name="T15" fmla="*/ 667 h 667"/>
              <a:gd name="T16" fmla="*/ 542 w 667"/>
              <a:gd name="T17" fmla="*/ 667 h 667"/>
              <a:gd name="T18" fmla="*/ 630 w 667"/>
              <a:gd name="T19" fmla="*/ 630 h 667"/>
              <a:gd name="T20" fmla="*/ 667 w 667"/>
              <a:gd name="T21" fmla="*/ 542 h 667"/>
              <a:gd name="T22" fmla="*/ 667 w 667"/>
              <a:gd name="T23" fmla="*/ 125 h 667"/>
              <a:gd name="T24" fmla="*/ 630 w 667"/>
              <a:gd name="T25" fmla="*/ 37 h 667"/>
              <a:gd name="T26" fmla="*/ 103 w 667"/>
              <a:gd name="T27" fmla="*/ 558 h 667"/>
              <a:gd name="T28" fmla="*/ 203 w 667"/>
              <a:gd name="T29" fmla="*/ 558 h 667"/>
              <a:gd name="T30" fmla="*/ 203 w 667"/>
              <a:gd name="T31" fmla="*/ 257 h 667"/>
              <a:gd name="T32" fmla="*/ 103 w 667"/>
              <a:gd name="T33" fmla="*/ 257 h 667"/>
              <a:gd name="T34" fmla="*/ 103 w 667"/>
              <a:gd name="T35" fmla="*/ 558 h 667"/>
              <a:gd name="T36" fmla="*/ 194 w 667"/>
              <a:gd name="T37" fmla="*/ 201 h 667"/>
              <a:gd name="T38" fmla="*/ 153 w 667"/>
              <a:gd name="T39" fmla="*/ 216 h 667"/>
              <a:gd name="T40" fmla="*/ 152 w 667"/>
              <a:gd name="T41" fmla="*/ 216 h 667"/>
              <a:gd name="T42" fmla="*/ 112 w 667"/>
              <a:gd name="T43" fmla="*/ 201 h 667"/>
              <a:gd name="T44" fmla="*/ 97 w 667"/>
              <a:gd name="T45" fmla="*/ 164 h 667"/>
              <a:gd name="T46" fmla="*/ 113 w 667"/>
              <a:gd name="T47" fmla="*/ 127 h 667"/>
              <a:gd name="T48" fmla="*/ 154 w 667"/>
              <a:gd name="T49" fmla="*/ 112 h 667"/>
              <a:gd name="T50" fmla="*/ 194 w 667"/>
              <a:gd name="T51" fmla="*/ 127 h 667"/>
              <a:gd name="T52" fmla="*/ 210 w 667"/>
              <a:gd name="T53" fmla="*/ 164 h 667"/>
              <a:gd name="T54" fmla="*/ 194 w 667"/>
              <a:gd name="T55" fmla="*/ 201 h 667"/>
              <a:gd name="T56" fmla="*/ 564 w 667"/>
              <a:gd name="T57" fmla="*/ 558 h 667"/>
              <a:gd name="T58" fmla="*/ 464 w 667"/>
              <a:gd name="T59" fmla="*/ 558 h 667"/>
              <a:gd name="T60" fmla="*/ 464 w 667"/>
              <a:gd name="T61" fmla="*/ 397 h 667"/>
              <a:gd name="T62" fmla="*/ 413 w 667"/>
              <a:gd name="T63" fmla="*/ 329 h 667"/>
              <a:gd name="T64" fmla="*/ 381 w 667"/>
              <a:gd name="T65" fmla="*/ 340 h 667"/>
              <a:gd name="T66" fmla="*/ 361 w 667"/>
              <a:gd name="T67" fmla="*/ 365 h 667"/>
              <a:gd name="T68" fmla="*/ 358 w 667"/>
              <a:gd name="T69" fmla="*/ 390 h 667"/>
              <a:gd name="T70" fmla="*/ 358 w 667"/>
              <a:gd name="T71" fmla="*/ 558 h 667"/>
              <a:gd name="T72" fmla="*/ 258 w 667"/>
              <a:gd name="T73" fmla="*/ 558 h 667"/>
              <a:gd name="T74" fmla="*/ 258 w 667"/>
              <a:gd name="T75" fmla="*/ 257 h 667"/>
              <a:gd name="T76" fmla="*/ 358 w 667"/>
              <a:gd name="T77" fmla="*/ 257 h 667"/>
              <a:gd name="T78" fmla="*/ 358 w 667"/>
              <a:gd name="T79" fmla="*/ 299 h 667"/>
              <a:gd name="T80" fmla="*/ 448 w 667"/>
              <a:gd name="T81" fmla="*/ 250 h 667"/>
              <a:gd name="T82" fmla="*/ 532 w 667"/>
              <a:gd name="T83" fmla="*/ 284 h 667"/>
              <a:gd name="T84" fmla="*/ 564 w 667"/>
              <a:gd name="T85" fmla="*/ 385 h 667"/>
              <a:gd name="T86" fmla="*/ 564 w 667"/>
              <a:gd name="T87" fmla="*/ 558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67" h="667"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  <a:moveTo>
                  <a:pt x="103" y="558"/>
                </a:moveTo>
                <a:cubicBezTo>
                  <a:pt x="203" y="558"/>
                  <a:pt x="203" y="558"/>
                  <a:pt x="203" y="558"/>
                </a:cubicBezTo>
                <a:cubicBezTo>
                  <a:pt x="203" y="257"/>
                  <a:pt x="203" y="257"/>
                  <a:pt x="203" y="257"/>
                </a:cubicBezTo>
                <a:cubicBezTo>
                  <a:pt x="103" y="257"/>
                  <a:pt x="103" y="257"/>
                  <a:pt x="103" y="257"/>
                </a:cubicBezTo>
                <a:lnTo>
                  <a:pt x="103" y="558"/>
                </a:lnTo>
                <a:close/>
                <a:moveTo>
                  <a:pt x="194" y="201"/>
                </a:moveTo>
                <a:cubicBezTo>
                  <a:pt x="184" y="211"/>
                  <a:pt x="170" y="216"/>
                  <a:pt x="153" y="216"/>
                </a:cubicBezTo>
                <a:cubicBezTo>
                  <a:pt x="152" y="216"/>
                  <a:pt x="152" y="216"/>
                  <a:pt x="152" y="216"/>
                </a:cubicBezTo>
                <a:cubicBezTo>
                  <a:pt x="136" y="216"/>
                  <a:pt x="123" y="211"/>
                  <a:pt x="112" y="201"/>
                </a:cubicBezTo>
                <a:cubicBezTo>
                  <a:pt x="102" y="191"/>
                  <a:pt x="97" y="179"/>
                  <a:pt x="97" y="164"/>
                </a:cubicBezTo>
                <a:cubicBezTo>
                  <a:pt x="97" y="149"/>
                  <a:pt x="102" y="137"/>
                  <a:pt x="113" y="127"/>
                </a:cubicBezTo>
                <a:cubicBezTo>
                  <a:pt x="123" y="117"/>
                  <a:pt x="137" y="112"/>
                  <a:pt x="154" y="112"/>
                </a:cubicBezTo>
                <a:cubicBezTo>
                  <a:pt x="170" y="112"/>
                  <a:pt x="184" y="117"/>
                  <a:pt x="194" y="127"/>
                </a:cubicBezTo>
                <a:cubicBezTo>
                  <a:pt x="204" y="136"/>
                  <a:pt x="209" y="149"/>
                  <a:pt x="210" y="164"/>
                </a:cubicBezTo>
                <a:cubicBezTo>
                  <a:pt x="210" y="179"/>
                  <a:pt x="204" y="191"/>
                  <a:pt x="194" y="201"/>
                </a:cubicBezTo>
                <a:close/>
                <a:moveTo>
                  <a:pt x="564" y="558"/>
                </a:moveTo>
                <a:cubicBezTo>
                  <a:pt x="464" y="558"/>
                  <a:pt x="464" y="558"/>
                  <a:pt x="464" y="558"/>
                </a:cubicBezTo>
                <a:cubicBezTo>
                  <a:pt x="464" y="397"/>
                  <a:pt x="464" y="397"/>
                  <a:pt x="464" y="397"/>
                </a:cubicBezTo>
                <a:cubicBezTo>
                  <a:pt x="464" y="352"/>
                  <a:pt x="447" y="329"/>
                  <a:pt x="413" y="329"/>
                </a:cubicBezTo>
                <a:cubicBezTo>
                  <a:pt x="400" y="329"/>
                  <a:pt x="390" y="333"/>
                  <a:pt x="381" y="340"/>
                </a:cubicBezTo>
                <a:cubicBezTo>
                  <a:pt x="372" y="347"/>
                  <a:pt x="366" y="355"/>
                  <a:pt x="361" y="365"/>
                </a:cubicBezTo>
                <a:cubicBezTo>
                  <a:pt x="359" y="371"/>
                  <a:pt x="358" y="379"/>
                  <a:pt x="358" y="390"/>
                </a:cubicBezTo>
                <a:cubicBezTo>
                  <a:pt x="358" y="558"/>
                  <a:pt x="358" y="558"/>
                  <a:pt x="358" y="558"/>
                </a:cubicBezTo>
                <a:cubicBezTo>
                  <a:pt x="258" y="558"/>
                  <a:pt x="258" y="558"/>
                  <a:pt x="258" y="558"/>
                </a:cubicBezTo>
                <a:cubicBezTo>
                  <a:pt x="259" y="376"/>
                  <a:pt x="259" y="276"/>
                  <a:pt x="258" y="257"/>
                </a:cubicBezTo>
                <a:cubicBezTo>
                  <a:pt x="358" y="257"/>
                  <a:pt x="358" y="257"/>
                  <a:pt x="358" y="257"/>
                </a:cubicBezTo>
                <a:cubicBezTo>
                  <a:pt x="358" y="299"/>
                  <a:pt x="358" y="299"/>
                  <a:pt x="358" y="299"/>
                </a:cubicBezTo>
                <a:cubicBezTo>
                  <a:pt x="380" y="267"/>
                  <a:pt x="410" y="250"/>
                  <a:pt x="448" y="250"/>
                </a:cubicBezTo>
                <a:cubicBezTo>
                  <a:pt x="483" y="250"/>
                  <a:pt x="511" y="261"/>
                  <a:pt x="532" y="284"/>
                </a:cubicBezTo>
                <a:cubicBezTo>
                  <a:pt x="553" y="307"/>
                  <a:pt x="564" y="341"/>
                  <a:pt x="564" y="385"/>
                </a:cubicBezTo>
                <a:lnTo>
                  <a:pt x="564" y="558"/>
                </a:ln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46628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Chin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5123694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Bildplatzhalter 67">
            <a:extLst>
              <a:ext uri="{FF2B5EF4-FFF2-40B4-BE49-F238E27FC236}">
                <a16:creationId xmlns:a16="http://schemas.microsoft.com/office/drawing/2014/main" id="{96B1D410-3F2D-42FA-B47A-3D9E7AAA025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8350" cy="4030663"/>
          </a:xfrm>
          <a:custGeom>
            <a:avLst/>
            <a:gdLst>
              <a:gd name="connsiteX0" fmla="*/ 10215479 w 12198350"/>
              <a:gd name="connsiteY0" fmla="*/ 263197 h 4030663"/>
              <a:gd name="connsiteX1" fmla="*/ 10215479 w 12198350"/>
              <a:gd name="connsiteY1" fmla="*/ 792687 h 4030663"/>
              <a:gd name="connsiteX2" fmla="*/ 11933140 w 12198350"/>
              <a:gd name="connsiteY2" fmla="*/ 792687 h 4030663"/>
              <a:gd name="connsiteX3" fmla="*/ 11933140 w 12198350"/>
              <a:gd name="connsiteY3" fmla="*/ 263197 h 4030663"/>
              <a:gd name="connsiteX4" fmla="*/ 0 w 12198350"/>
              <a:gd name="connsiteY4" fmla="*/ 0 h 4030663"/>
              <a:gd name="connsiteX5" fmla="*/ 12198350 w 12198350"/>
              <a:gd name="connsiteY5" fmla="*/ 0 h 4030663"/>
              <a:gd name="connsiteX6" fmla="*/ 12198350 w 12198350"/>
              <a:gd name="connsiteY6" fmla="*/ 4030663 h 4030663"/>
              <a:gd name="connsiteX7" fmla="*/ 8191500 w 12198350"/>
              <a:gd name="connsiteY7" fmla="*/ 4030663 h 4030663"/>
              <a:gd name="connsiteX8" fmla="*/ 8191500 w 12198350"/>
              <a:gd name="connsiteY8" fmla="*/ 3671000 h 4030663"/>
              <a:gd name="connsiteX9" fmla="*/ 0 w 12198350"/>
              <a:gd name="connsiteY9" fmla="*/ 3671000 h 403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40306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4030663"/>
                </a:lnTo>
                <a:lnTo>
                  <a:pt x="8191500" y="4030663"/>
                </a:lnTo>
                <a:lnTo>
                  <a:pt x="8191500" y="3671000"/>
                </a:lnTo>
                <a:lnTo>
                  <a:pt x="0" y="3671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sv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3927884"/>
            <a:ext cx="5693569" cy="553998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sv" noProof="0"/>
              <a:t>Thank you for your attention!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52" name="Textplatzhalter 3">
            <a:extLst>
              <a:ext uri="{FF2B5EF4-FFF2-40B4-BE49-F238E27FC236}">
                <a16:creationId xmlns:a16="http://schemas.microsoft.com/office/drawing/2014/main" id="{62607DD7-FD68-423F-8CAD-9C36FF1605D4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19113" y="4616862"/>
            <a:ext cx="5693569" cy="215444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sv" noProof="0"/>
              <a:t>Name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6A62BB1-0DA7-4E41-9F7A-6C2CFE54250E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1BA462-2946-4163-B2CE-B44C8E5721B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4" name="AutoShape 4">
            <a:extLst>
              <a:ext uri="{FF2B5EF4-FFF2-40B4-BE49-F238E27FC236}">
                <a16:creationId xmlns:a16="http://schemas.microsoft.com/office/drawing/2014/main" id="{510C1027-9FFF-4D5E-B4B5-42C2FFFB5E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306536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17" name="AutoShape 3">
            <a:extLst>
              <a:ext uri="{FF2B5EF4-FFF2-40B4-BE49-F238E27FC236}">
                <a16:creationId xmlns:a16="http://schemas.microsoft.com/office/drawing/2014/main" id="{91A1A5E5-EC1A-45F6-A5A8-A9F67657C572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193037" y="585222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87571F0-98B1-44E8-9E7A-FC90C7446D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1074309" y="5300493"/>
            <a:ext cx="913684" cy="913684"/>
          </a:xfrm>
          <a:noFill/>
        </p:spPr>
        <p:txBody>
          <a:bodyPr rtlCol="0" anchor="ctr"/>
          <a:lstStyle>
            <a:lvl1pPr marL="0" indent="0" algn="ctr" rtl="0">
              <a:buNone/>
              <a:defRPr/>
            </a:lvl1pPr>
          </a:lstStyle>
          <a:p>
            <a:pPr rtl="0"/>
            <a:r>
              <a:rPr lang="sv"/>
              <a:t>QR </a:t>
            </a:r>
            <a:br>
              <a:rPr lang="en-GB"/>
            </a:br>
            <a:r>
              <a:rPr lang="sv"/>
              <a:t>code</a:t>
            </a:r>
          </a:p>
        </p:txBody>
      </p:sp>
      <p:sp>
        <p:nvSpPr>
          <p:cNvPr id="51" name="Textfeld 4">
            <a:extLst>
              <a:ext uri="{FF2B5EF4-FFF2-40B4-BE49-F238E27FC236}">
                <a16:creationId xmlns:a16="http://schemas.microsoft.com/office/drawing/2014/main" id="{9D0D19CB-DF52-480F-A5A7-8B333FE11F5E}"/>
              </a:ext>
            </a:extLst>
          </p:cNvPr>
          <p:cNvSpPr txBox="1">
            <a:spLocks/>
          </p:cNvSpPr>
          <p:nvPr userDrawn="1"/>
        </p:nvSpPr>
        <p:spPr>
          <a:xfrm>
            <a:off x="8200799" y="4616862"/>
            <a:ext cx="371175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sv" sz="1400">
                <a:latin typeface="Arial" panose="020B0604020202020204" pitchFamily="34" charset="0"/>
                <a:cs typeface="Arial" panose="020B0604020202020204" pitchFamily="34" charset="0"/>
              </a:rPr>
              <a:t>Learn more about our company</a:t>
            </a:r>
            <a:b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sv" sz="1400"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www.tesa.cn</a:t>
            </a:r>
            <a:endParaRPr lang="en-GB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Freeform 21">
            <a:hlinkClick r:id="rId8"/>
            <a:extLst>
              <a:ext uri="{FF2B5EF4-FFF2-40B4-BE49-F238E27FC236}">
                <a16:creationId xmlns:a16="http://schemas.microsoft.com/office/drawing/2014/main" id="{C9DEED53-FC85-406B-9953-BF83E8A382C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200799" y="5852228"/>
            <a:ext cx="304800" cy="304800"/>
          </a:xfrm>
          <a:custGeom>
            <a:avLst/>
            <a:gdLst>
              <a:gd name="T0" fmla="*/ 630 w 667"/>
              <a:gd name="T1" fmla="*/ 37 h 667"/>
              <a:gd name="T2" fmla="*/ 542 w 667"/>
              <a:gd name="T3" fmla="*/ 0 h 667"/>
              <a:gd name="T4" fmla="*/ 125 w 667"/>
              <a:gd name="T5" fmla="*/ 0 h 667"/>
              <a:gd name="T6" fmla="*/ 37 w 667"/>
              <a:gd name="T7" fmla="*/ 37 h 667"/>
              <a:gd name="T8" fmla="*/ 0 w 667"/>
              <a:gd name="T9" fmla="*/ 125 h 667"/>
              <a:gd name="T10" fmla="*/ 0 w 667"/>
              <a:gd name="T11" fmla="*/ 542 h 667"/>
              <a:gd name="T12" fmla="*/ 37 w 667"/>
              <a:gd name="T13" fmla="*/ 630 h 667"/>
              <a:gd name="T14" fmla="*/ 125 w 667"/>
              <a:gd name="T15" fmla="*/ 667 h 667"/>
              <a:gd name="T16" fmla="*/ 542 w 667"/>
              <a:gd name="T17" fmla="*/ 667 h 667"/>
              <a:gd name="T18" fmla="*/ 630 w 667"/>
              <a:gd name="T19" fmla="*/ 630 h 667"/>
              <a:gd name="T20" fmla="*/ 667 w 667"/>
              <a:gd name="T21" fmla="*/ 542 h 667"/>
              <a:gd name="T22" fmla="*/ 667 w 667"/>
              <a:gd name="T23" fmla="*/ 125 h 667"/>
              <a:gd name="T24" fmla="*/ 630 w 667"/>
              <a:gd name="T25" fmla="*/ 37 h 667"/>
              <a:gd name="T26" fmla="*/ 103 w 667"/>
              <a:gd name="T27" fmla="*/ 558 h 667"/>
              <a:gd name="T28" fmla="*/ 203 w 667"/>
              <a:gd name="T29" fmla="*/ 558 h 667"/>
              <a:gd name="T30" fmla="*/ 203 w 667"/>
              <a:gd name="T31" fmla="*/ 257 h 667"/>
              <a:gd name="T32" fmla="*/ 103 w 667"/>
              <a:gd name="T33" fmla="*/ 257 h 667"/>
              <a:gd name="T34" fmla="*/ 103 w 667"/>
              <a:gd name="T35" fmla="*/ 558 h 667"/>
              <a:gd name="T36" fmla="*/ 194 w 667"/>
              <a:gd name="T37" fmla="*/ 201 h 667"/>
              <a:gd name="T38" fmla="*/ 153 w 667"/>
              <a:gd name="T39" fmla="*/ 216 h 667"/>
              <a:gd name="T40" fmla="*/ 152 w 667"/>
              <a:gd name="T41" fmla="*/ 216 h 667"/>
              <a:gd name="T42" fmla="*/ 112 w 667"/>
              <a:gd name="T43" fmla="*/ 201 h 667"/>
              <a:gd name="T44" fmla="*/ 97 w 667"/>
              <a:gd name="T45" fmla="*/ 164 h 667"/>
              <a:gd name="T46" fmla="*/ 113 w 667"/>
              <a:gd name="T47" fmla="*/ 127 h 667"/>
              <a:gd name="T48" fmla="*/ 154 w 667"/>
              <a:gd name="T49" fmla="*/ 112 h 667"/>
              <a:gd name="T50" fmla="*/ 194 w 667"/>
              <a:gd name="T51" fmla="*/ 127 h 667"/>
              <a:gd name="T52" fmla="*/ 210 w 667"/>
              <a:gd name="T53" fmla="*/ 164 h 667"/>
              <a:gd name="T54" fmla="*/ 194 w 667"/>
              <a:gd name="T55" fmla="*/ 201 h 667"/>
              <a:gd name="T56" fmla="*/ 564 w 667"/>
              <a:gd name="T57" fmla="*/ 558 h 667"/>
              <a:gd name="T58" fmla="*/ 464 w 667"/>
              <a:gd name="T59" fmla="*/ 558 h 667"/>
              <a:gd name="T60" fmla="*/ 464 w 667"/>
              <a:gd name="T61" fmla="*/ 397 h 667"/>
              <a:gd name="T62" fmla="*/ 413 w 667"/>
              <a:gd name="T63" fmla="*/ 329 h 667"/>
              <a:gd name="T64" fmla="*/ 381 w 667"/>
              <a:gd name="T65" fmla="*/ 340 h 667"/>
              <a:gd name="T66" fmla="*/ 361 w 667"/>
              <a:gd name="T67" fmla="*/ 365 h 667"/>
              <a:gd name="T68" fmla="*/ 358 w 667"/>
              <a:gd name="T69" fmla="*/ 390 h 667"/>
              <a:gd name="T70" fmla="*/ 358 w 667"/>
              <a:gd name="T71" fmla="*/ 558 h 667"/>
              <a:gd name="T72" fmla="*/ 258 w 667"/>
              <a:gd name="T73" fmla="*/ 558 h 667"/>
              <a:gd name="T74" fmla="*/ 258 w 667"/>
              <a:gd name="T75" fmla="*/ 257 h 667"/>
              <a:gd name="T76" fmla="*/ 358 w 667"/>
              <a:gd name="T77" fmla="*/ 257 h 667"/>
              <a:gd name="T78" fmla="*/ 358 w 667"/>
              <a:gd name="T79" fmla="*/ 299 h 667"/>
              <a:gd name="T80" fmla="*/ 448 w 667"/>
              <a:gd name="T81" fmla="*/ 250 h 667"/>
              <a:gd name="T82" fmla="*/ 532 w 667"/>
              <a:gd name="T83" fmla="*/ 284 h 667"/>
              <a:gd name="T84" fmla="*/ 564 w 667"/>
              <a:gd name="T85" fmla="*/ 385 h 667"/>
              <a:gd name="T86" fmla="*/ 564 w 667"/>
              <a:gd name="T87" fmla="*/ 558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67" h="667"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  <a:moveTo>
                  <a:pt x="103" y="558"/>
                </a:moveTo>
                <a:cubicBezTo>
                  <a:pt x="203" y="558"/>
                  <a:pt x="203" y="558"/>
                  <a:pt x="203" y="558"/>
                </a:cubicBezTo>
                <a:cubicBezTo>
                  <a:pt x="203" y="257"/>
                  <a:pt x="203" y="257"/>
                  <a:pt x="203" y="257"/>
                </a:cubicBezTo>
                <a:cubicBezTo>
                  <a:pt x="103" y="257"/>
                  <a:pt x="103" y="257"/>
                  <a:pt x="103" y="257"/>
                </a:cubicBezTo>
                <a:lnTo>
                  <a:pt x="103" y="558"/>
                </a:lnTo>
                <a:close/>
                <a:moveTo>
                  <a:pt x="194" y="201"/>
                </a:moveTo>
                <a:cubicBezTo>
                  <a:pt x="184" y="211"/>
                  <a:pt x="170" y="216"/>
                  <a:pt x="153" y="216"/>
                </a:cubicBezTo>
                <a:cubicBezTo>
                  <a:pt x="152" y="216"/>
                  <a:pt x="152" y="216"/>
                  <a:pt x="152" y="216"/>
                </a:cubicBezTo>
                <a:cubicBezTo>
                  <a:pt x="136" y="216"/>
                  <a:pt x="123" y="211"/>
                  <a:pt x="112" y="201"/>
                </a:cubicBezTo>
                <a:cubicBezTo>
                  <a:pt x="102" y="191"/>
                  <a:pt x="97" y="179"/>
                  <a:pt x="97" y="164"/>
                </a:cubicBezTo>
                <a:cubicBezTo>
                  <a:pt x="97" y="149"/>
                  <a:pt x="102" y="137"/>
                  <a:pt x="113" y="127"/>
                </a:cubicBezTo>
                <a:cubicBezTo>
                  <a:pt x="123" y="117"/>
                  <a:pt x="137" y="112"/>
                  <a:pt x="154" y="112"/>
                </a:cubicBezTo>
                <a:cubicBezTo>
                  <a:pt x="170" y="112"/>
                  <a:pt x="184" y="117"/>
                  <a:pt x="194" y="127"/>
                </a:cubicBezTo>
                <a:cubicBezTo>
                  <a:pt x="204" y="136"/>
                  <a:pt x="209" y="149"/>
                  <a:pt x="210" y="164"/>
                </a:cubicBezTo>
                <a:cubicBezTo>
                  <a:pt x="210" y="179"/>
                  <a:pt x="204" y="191"/>
                  <a:pt x="194" y="201"/>
                </a:cubicBezTo>
                <a:close/>
                <a:moveTo>
                  <a:pt x="564" y="558"/>
                </a:moveTo>
                <a:cubicBezTo>
                  <a:pt x="464" y="558"/>
                  <a:pt x="464" y="558"/>
                  <a:pt x="464" y="558"/>
                </a:cubicBezTo>
                <a:cubicBezTo>
                  <a:pt x="464" y="397"/>
                  <a:pt x="464" y="397"/>
                  <a:pt x="464" y="397"/>
                </a:cubicBezTo>
                <a:cubicBezTo>
                  <a:pt x="464" y="352"/>
                  <a:pt x="447" y="329"/>
                  <a:pt x="413" y="329"/>
                </a:cubicBezTo>
                <a:cubicBezTo>
                  <a:pt x="400" y="329"/>
                  <a:pt x="390" y="333"/>
                  <a:pt x="381" y="340"/>
                </a:cubicBezTo>
                <a:cubicBezTo>
                  <a:pt x="372" y="347"/>
                  <a:pt x="366" y="355"/>
                  <a:pt x="361" y="365"/>
                </a:cubicBezTo>
                <a:cubicBezTo>
                  <a:pt x="359" y="371"/>
                  <a:pt x="358" y="379"/>
                  <a:pt x="358" y="390"/>
                </a:cubicBezTo>
                <a:cubicBezTo>
                  <a:pt x="358" y="558"/>
                  <a:pt x="358" y="558"/>
                  <a:pt x="358" y="558"/>
                </a:cubicBezTo>
                <a:cubicBezTo>
                  <a:pt x="258" y="558"/>
                  <a:pt x="258" y="558"/>
                  <a:pt x="258" y="558"/>
                </a:cubicBezTo>
                <a:cubicBezTo>
                  <a:pt x="259" y="376"/>
                  <a:pt x="259" y="276"/>
                  <a:pt x="258" y="257"/>
                </a:cubicBezTo>
                <a:cubicBezTo>
                  <a:pt x="358" y="257"/>
                  <a:pt x="358" y="257"/>
                  <a:pt x="358" y="257"/>
                </a:cubicBezTo>
                <a:cubicBezTo>
                  <a:pt x="358" y="299"/>
                  <a:pt x="358" y="299"/>
                  <a:pt x="358" y="299"/>
                </a:cubicBezTo>
                <a:cubicBezTo>
                  <a:pt x="380" y="267"/>
                  <a:pt x="410" y="250"/>
                  <a:pt x="448" y="250"/>
                </a:cubicBezTo>
                <a:cubicBezTo>
                  <a:pt x="483" y="250"/>
                  <a:pt x="511" y="261"/>
                  <a:pt x="532" y="284"/>
                </a:cubicBezTo>
                <a:cubicBezTo>
                  <a:pt x="553" y="307"/>
                  <a:pt x="564" y="341"/>
                  <a:pt x="564" y="385"/>
                </a:cubicBezTo>
                <a:lnTo>
                  <a:pt x="564" y="558"/>
                </a:ln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GB"/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329089C3-4002-4094-B9C2-3B5F5A38CDF8}"/>
              </a:ext>
            </a:extLst>
          </p:cNvPr>
          <p:cNvGrpSpPr/>
          <p:nvPr userDrawn="1"/>
        </p:nvGrpSpPr>
        <p:grpSpPr>
          <a:xfrm>
            <a:off x="8699471" y="5852228"/>
            <a:ext cx="304800" cy="304800"/>
            <a:chOff x="9153951" y="5852228"/>
            <a:chExt cx="304800" cy="304800"/>
          </a:xfrm>
        </p:grpSpPr>
        <p:sp>
          <p:nvSpPr>
            <p:cNvPr id="55" name="Grafik 7">
              <a:extLst>
                <a:ext uri="{FF2B5EF4-FFF2-40B4-BE49-F238E27FC236}">
                  <a16:creationId xmlns:a16="http://schemas.microsoft.com/office/drawing/2014/main" id="{9ED2F869-1009-4E59-96BD-E3CB97A8AFEF}"/>
                </a:ext>
              </a:extLst>
            </p:cNvPr>
            <p:cNvSpPr/>
            <p:nvPr/>
          </p:nvSpPr>
          <p:spPr>
            <a:xfrm>
              <a:off x="9153951" y="5852228"/>
              <a:ext cx="304800" cy="304800"/>
            </a:xfrm>
            <a:prstGeom prst="roundRect">
              <a:avLst/>
            </a:prstGeom>
            <a:solidFill>
              <a:srgbClr val="8F8F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lvl="0" rtl="0"/>
              <a:endParaRPr lang="en-GB"/>
            </a:p>
          </p:txBody>
        </p:sp>
        <p:sp>
          <p:nvSpPr>
            <p:cNvPr id="56" name="Grafik 7">
              <a:extLst>
                <a:ext uri="{FF2B5EF4-FFF2-40B4-BE49-F238E27FC236}">
                  <a16:creationId xmlns:a16="http://schemas.microsoft.com/office/drawing/2014/main" id="{22A895B9-3E76-47A8-8E79-BDA1F8140906}"/>
                </a:ext>
              </a:extLst>
            </p:cNvPr>
            <p:cNvSpPr/>
            <p:nvPr/>
          </p:nvSpPr>
          <p:spPr>
            <a:xfrm>
              <a:off x="9197564" y="5916029"/>
              <a:ext cx="154697" cy="140614"/>
            </a:xfrm>
            <a:custGeom>
              <a:avLst/>
              <a:gdLst>
                <a:gd name="connsiteX0" fmla="*/ 1624460 w 1706498"/>
                <a:gd name="connsiteY0" fmla="*/ 591160 h 1551146"/>
                <a:gd name="connsiteX1" fmla="*/ 1706184 w 1706498"/>
                <a:gd name="connsiteY1" fmla="*/ 596113 h 1551146"/>
                <a:gd name="connsiteX2" fmla="*/ 848934 w 1706498"/>
                <a:gd name="connsiteY2" fmla="*/ -247 h 1551146"/>
                <a:gd name="connsiteX3" fmla="*/ -315 w 1706498"/>
                <a:gd name="connsiteY3" fmla="*/ 722033 h 1551146"/>
                <a:gd name="connsiteX4" fmla="*/ 339442 w 1706498"/>
                <a:gd name="connsiteY4" fmla="*/ 1295438 h 1551146"/>
                <a:gd name="connsiteX5" fmla="*/ 254574 w 1706498"/>
                <a:gd name="connsiteY5" fmla="*/ 1550899 h 1551146"/>
                <a:gd name="connsiteX6" fmla="*/ 551373 w 1706498"/>
                <a:gd name="connsiteY6" fmla="*/ 1402023 h 1551146"/>
                <a:gd name="connsiteX7" fmla="*/ 848934 w 1706498"/>
                <a:gd name="connsiteY7" fmla="*/ 1444600 h 1551146"/>
                <a:gd name="connsiteX8" fmla="*/ 928182 w 1706498"/>
                <a:gd name="connsiteY8" fmla="*/ 1441266 h 1551146"/>
                <a:gd name="connsiteX9" fmla="*/ 902369 w 1706498"/>
                <a:gd name="connsiteY9" fmla="*/ 1263053 h 1551146"/>
                <a:gd name="connsiteX10" fmla="*/ 1624460 w 1706498"/>
                <a:gd name="connsiteY10" fmla="*/ 591160 h 1551146"/>
                <a:gd name="connsiteX11" fmla="*/ 1167259 w 1706498"/>
                <a:gd name="connsiteY11" fmla="*/ 360845 h 1551146"/>
                <a:gd name="connsiteX12" fmla="*/ 1273558 w 1706498"/>
                <a:gd name="connsiteY12" fmla="*/ 466859 h 1551146"/>
                <a:gd name="connsiteX13" fmla="*/ 1167259 w 1706498"/>
                <a:gd name="connsiteY13" fmla="*/ 573158 h 1551146"/>
                <a:gd name="connsiteX14" fmla="*/ 1039815 w 1706498"/>
                <a:gd name="connsiteY14" fmla="*/ 466859 h 1551146"/>
                <a:gd name="connsiteX15" fmla="*/ 1167736 w 1706498"/>
                <a:gd name="connsiteY15" fmla="*/ 360845 h 1551146"/>
                <a:gd name="connsiteX16" fmla="*/ 572899 w 1706498"/>
                <a:gd name="connsiteY16" fmla="*/ 573158 h 1551146"/>
                <a:gd name="connsiteX17" fmla="*/ 444979 w 1706498"/>
                <a:gd name="connsiteY17" fmla="*/ 466859 h 1551146"/>
                <a:gd name="connsiteX18" fmla="*/ 572899 w 1706498"/>
                <a:gd name="connsiteY18" fmla="*/ 360845 h 1551146"/>
                <a:gd name="connsiteX19" fmla="*/ 678913 w 1706498"/>
                <a:gd name="connsiteY19" fmla="*/ 466859 h 1551146"/>
                <a:gd name="connsiteX20" fmla="*/ 573376 w 1706498"/>
                <a:gd name="connsiteY20" fmla="*/ 573158 h 155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706498" h="1551146">
                  <a:moveTo>
                    <a:pt x="1624460" y="591160"/>
                  </a:moveTo>
                  <a:cubicBezTo>
                    <a:pt x="1651767" y="591322"/>
                    <a:pt x="1679057" y="592979"/>
                    <a:pt x="1706184" y="596113"/>
                  </a:cubicBezTo>
                  <a:cubicBezTo>
                    <a:pt x="1632746" y="253975"/>
                    <a:pt x="1266891" y="-247"/>
                    <a:pt x="848934" y="-247"/>
                  </a:cubicBezTo>
                  <a:cubicBezTo>
                    <a:pt x="382209" y="-247"/>
                    <a:pt x="-315" y="317983"/>
                    <a:pt x="-315" y="722033"/>
                  </a:cubicBezTo>
                  <a:cubicBezTo>
                    <a:pt x="-315" y="955205"/>
                    <a:pt x="126844" y="1146848"/>
                    <a:pt x="339442" y="1295438"/>
                  </a:cubicBezTo>
                  <a:lnTo>
                    <a:pt x="254574" y="1550899"/>
                  </a:lnTo>
                  <a:lnTo>
                    <a:pt x="551373" y="1402023"/>
                  </a:lnTo>
                  <a:cubicBezTo>
                    <a:pt x="657672" y="1422978"/>
                    <a:pt x="742921" y="1444600"/>
                    <a:pt x="848934" y="1444600"/>
                  </a:cubicBezTo>
                  <a:cubicBezTo>
                    <a:pt x="875509" y="1444600"/>
                    <a:pt x="901988" y="1443267"/>
                    <a:pt x="928182" y="1441266"/>
                  </a:cubicBezTo>
                  <a:cubicBezTo>
                    <a:pt x="911132" y="1383392"/>
                    <a:pt x="902445" y="1323385"/>
                    <a:pt x="902369" y="1263053"/>
                  </a:cubicBezTo>
                  <a:cubicBezTo>
                    <a:pt x="902369" y="892245"/>
                    <a:pt x="1220885" y="591160"/>
                    <a:pt x="1624460" y="591160"/>
                  </a:cubicBezTo>
                  <a:close/>
                  <a:moveTo>
                    <a:pt x="1167259" y="360845"/>
                  </a:moveTo>
                  <a:cubicBezTo>
                    <a:pt x="1231267" y="360845"/>
                    <a:pt x="1273558" y="402851"/>
                    <a:pt x="1273558" y="466859"/>
                  </a:cubicBezTo>
                  <a:cubicBezTo>
                    <a:pt x="1273558" y="530867"/>
                    <a:pt x="1231267" y="573158"/>
                    <a:pt x="1167259" y="573158"/>
                  </a:cubicBezTo>
                  <a:cubicBezTo>
                    <a:pt x="1103251" y="573158"/>
                    <a:pt x="1039815" y="530486"/>
                    <a:pt x="1039815" y="466859"/>
                  </a:cubicBezTo>
                  <a:cubicBezTo>
                    <a:pt x="1039815" y="403232"/>
                    <a:pt x="1104109" y="360845"/>
                    <a:pt x="1167736" y="360845"/>
                  </a:cubicBezTo>
                  <a:close/>
                  <a:moveTo>
                    <a:pt x="572899" y="573158"/>
                  </a:moveTo>
                  <a:cubicBezTo>
                    <a:pt x="509177" y="573158"/>
                    <a:pt x="444979" y="530486"/>
                    <a:pt x="444979" y="466859"/>
                  </a:cubicBezTo>
                  <a:cubicBezTo>
                    <a:pt x="444979" y="403232"/>
                    <a:pt x="509177" y="360845"/>
                    <a:pt x="572899" y="360845"/>
                  </a:cubicBezTo>
                  <a:cubicBezTo>
                    <a:pt x="636622" y="360845"/>
                    <a:pt x="678913" y="402851"/>
                    <a:pt x="678913" y="466859"/>
                  </a:cubicBezTo>
                  <a:cubicBezTo>
                    <a:pt x="678913" y="530867"/>
                    <a:pt x="637098" y="573158"/>
                    <a:pt x="573376" y="57315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7" name="Grafik 7">
              <a:extLst>
                <a:ext uri="{FF2B5EF4-FFF2-40B4-BE49-F238E27FC236}">
                  <a16:creationId xmlns:a16="http://schemas.microsoft.com/office/drawing/2014/main" id="{6171FAB2-BB23-411D-9DFD-7B228094A784}"/>
                </a:ext>
              </a:extLst>
            </p:cNvPr>
            <p:cNvSpPr/>
            <p:nvPr/>
          </p:nvSpPr>
          <p:spPr>
            <a:xfrm>
              <a:off x="9284238" y="5973811"/>
              <a:ext cx="130874" cy="119442"/>
            </a:xfrm>
            <a:custGeom>
              <a:avLst/>
              <a:gdLst>
                <a:gd name="connsiteX0" fmla="*/ 1443389 w 1443704"/>
                <a:gd name="connsiteY0" fmla="*/ 616115 h 1317593"/>
                <a:gd name="connsiteX1" fmla="*/ 722061 w 1443704"/>
                <a:gd name="connsiteY1" fmla="*/ -247 h 1317593"/>
                <a:gd name="connsiteX2" fmla="*/ -315 w 1443704"/>
                <a:gd name="connsiteY2" fmla="*/ 616115 h 1317593"/>
                <a:gd name="connsiteX3" fmla="*/ 722061 w 1443704"/>
                <a:gd name="connsiteY3" fmla="*/ 1232288 h 1317593"/>
                <a:gd name="connsiteX4" fmla="*/ 976854 w 1443704"/>
                <a:gd name="connsiteY4" fmla="*/ 1189806 h 1317593"/>
                <a:gd name="connsiteX5" fmla="*/ 1209836 w 1443704"/>
                <a:gd name="connsiteY5" fmla="*/ 1317346 h 1317593"/>
                <a:gd name="connsiteX6" fmla="*/ 1145923 w 1443704"/>
                <a:gd name="connsiteY6" fmla="*/ 1105033 h 1317593"/>
                <a:gd name="connsiteX7" fmla="*/ 1443389 w 1443704"/>
                <a:gd name="connsiteY7" fmla="*/ 616115 h 1317593"/>
                <a:gd name="connsiteX8" fmla="*/ 487841 w 1443704"/>
                <a:gd name="connsiteY8" fmla="*/ 509435 h 1317593"/>
                <a:gd name="connsiteX9" fmla="*/ 402973 w 1443704"/>
                <a:gd name="connsiteY9" fmla="*/ 424377 h 1317593"/>
                <a:gd name="connsiteX10" fmla="*/ 487841 w 1443704"/>
                <a:gd name="connsiteY10" fmla="*/ 339509 h 1317593"/>
                <a:gd name="connsiteX11" fmla="*/ 594045 w 1443704"/>
                <a:gd name="connsiteY11" fmla="*/ 424377 h 1317593"/>
                <a:gd name="connsiteX12" fmla="*/ 487841 w 1443704"/>
                <a:gd name="connsiteY12" fmla="*/ 509435 h 1317593"/>
                <a:gd name="connsiteX13" fmla="*/ 955042 w 1443704"/>
                <a:gd name="connsiteY13" fmla="*/ 509435 h 1317593"/>
                <a:gd name="connsiteX14" fmla="*/ 870556 w 1443704"/>
                <a:gd name="connsiteY14" fmla="*/ 424377 h 1317593"/>
                <a:gd name="connsiteX15" fmla="*/ 955042 w 1443704"/>
                <a:gd name="connsiteY15" fmla="*/ 339509 h 1317593"/>
                <a:gd name="connsiteX16" fmla="*/ 1061246 w 1443704"/>
                <a:gd name="connsiteY16" fmla="*/ 424377 h 1317593"/>
                <a:gd name="connsiteX17" fmla="*/ 955042 w 1443704"/>
                <a:gd name="connsiteY17" fmla="*/ 509435 h 131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43704" h="1317593">
                  <a:moveTo>
                    <a:pt x="1443389" y="616115"/>
                  </a:moveTo>
                  <a:cubicBezTo>
                    <a:pt x="1443389" y="276549"/>
                    <a:pt x="1103632" y="-247"/>
                    <a:pt x="722061" y="-247"/>
                  </a:cubicBezTo>
                  <a:cubicBezTo>
                    <a:pt x="317915" y="-247"/>
                    <a:pt x="-315" y="276549"/>
                    <a:pt x="-315" y="616115"/>
                  </a:cubicBezTo>
                  <a:cubicBezTo>
                    <a:pt x="-315" y="955681"/>
                    <a:pt x="317915" y="1232288"/>
                    <a:pt x="722061" y="1232288"/>
                  </a:cubicBezTo>
                  <a:cubicBezTo>
                    <a:pt x="806547" y="1232288"/>
                    <a:pt x="891892" y="1211047"/>
                    <a:pt x="976854" y="1189806"/>
                  </a:cubicBezTo>
                  <a:lnTo>
                    <a:pt x="1209836" y="1317346"/>
                  </a:lnTo>
                  <a:lnTo>
                    <a:pt x="1145923" y="1105033"/>
                  </a:lnTo>
                  <a:cubicBezTo>
                    <a:pt x="1316326" y="976827"/>
                    <a:pt x="1443389" y="807187"/>
                    <a:pt x="1443389" y="616115"/>
                  </a:cubicBezTo>
                  <a:close/>
                  <a:moveTo>
                    <a:pt x="487841" y="509435"/>
                  </a:moveTo>
                  <a:cubicBezTo>
                    <a:pt x="445550" y="509435"/>
                    <a:pt x="402973" y="467335"/>
                    <a:pt x="402973" y="424377"/>
                  </a:cubicBezTo>
                  <a:cubicBezTo>
                    <a:pt x="402973" y="381419"/>
                    <a:pt x="445550" y="339509"/>
                    <a:pt x="487841" y="339509"/>
                  </a:cubicBezTo>
                  <a:cubicBezTo>
                    <a:pt x="552040" y="339509"/>
                    <a:pt x="594045" y="382181"/>
                    <a:pt x="594045" y="424377"/>
                  </a:cubicBezTo>
                  <a:cubicBezTo>
                    <a:pt x="594045" y="466573"/>
                    <a:pt x="552040" y="509435"/>
                    <a:pt x="487841" y="509435"/>
                  </a:cubicBezTo>
                  <a:close/>
                  <a:moveTo>
                    <a:pt x="955042" y="509435"/>
                  </a:moveTo>
                  <a:cubicBezTo>
                    <a:pt x="912942" y="509435"/>
                    <a:pt x="870556" y="467335"/>
                    <a:pt x="870556" y="424377"/>
                  </a:cubicBezTo>
                  <a:cubicBezTo>
                    <a:pt x="870556" y="381419"/>
                    <a:pt x="912942" y="339509"/>
                    <a:pt x="955042" y="339509"/>
                  </a:cubicBezTo>
                  <a:cubicBezTo>
                    <a:pt x="1018669" y="339509"/>
                    <a:pt x="1061246" y="382181"/>
                    <a:pt x="1061246" y="424377"/>
                  </a:cubicBezTo>
                  <a:cubicBezTo>
                    <a:pt x="1061246" y="466573"/>
                    <a:pt x="1018669" y="509435"/>
                    <a:pt x="955042" y="50943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58752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change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62173450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Bildplatzhalter 67">
            <a:extLst>
              <a:ext uri="{FF2B5EF4-FFF2-40B4-BE49-F238E27FC236}">
                <a16:creationId xmlns:a16="http://schemas.microsoft.com/office/drawing/2014/main" id="{96B1D410-3F2D-42FA-B47A-3D9E7AAA025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8350" cy="4030663"/>
          </a:xfrm>
          <a:custGeom>
            <a:avLst/>
            <a:gdLst>
              <a:gd name="connsiteX0" fmla="*/ 10215479 w 12198350"/>
              <a:gd name="connsiteY0" fmla="*/ 263197 h 4030663"/>
              <a:gd name="connsiteX1" fmla="*/ 10215479 w 12198350"/>
              <a:gd name="connsiteY1" fmla="*/ 792687 h 4030663"/>
              <a:gd name="connsiteX2" fmla="*/ 11933140 w 12198350"/>
              <a:gd name="connsiteY2" fmla="*/ 792687 h 4030663"/>
              <a:gd name="connsiteX3" fmla="*/ 11933140 w 12198350"/>
              <a:gd name="connsiteY3" fmla="*/ 263197 h 4030663"/>
              <a:gd name="connsiteX4" fmla="*/ 0 w 12198350"/>
              <a:gd name="connsiteY4" fmla="*/ 0 h 4030663"/>
              <a:gd name="connsiteX5" fmla="*/ 12198350 w 12198350"/>
              <a:gd name="connsiteY5" fmla="*/ 0 h 4030663"/>
              <a:gd name="connsiteX6" fmla="*/ 12198350 w 12198350"/>
              <a:gd name="connsiteY6" fmla="*/ 4030663 h 4030663"/>
              <a:gd name="connsiteX7" fmla="*/ 8191500 w 12198350"/>
              <a:gd name="connsiteY7" fmla="*/ 4030663 h 4030663"/>
              <a:gd name="connsiteX8" fmla="*/ 8191500 w 12198350"/>
              <a:gd name="connsiteY8" fmla="*/ 3671000 h 4030663"/>
              <a:gd name="connsiteX9" fmla="*/ 0 w 12198350"/>
              <a:gd name="connsiteY9" fmla="*/ 3671000 h 403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40306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4030663"/>
                </a:lnTo>
                <a:lnTo>
                  <a:pt x="8191500" y="4030663"/>
                </a:lnTo>
                <a:lnTo>
                  <a:pt x="8191500" y="3671000"/>
                </a:lnTo>
                <a:lnTo>
                  <a:pt x="0" y="3671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sv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3927884"/>
            <a:ext cx="5693569" cy="553998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sv" noProof="0"/>
              <a:t>Thank you for your attention!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52" name="Textplatzhalter 3">
            <a:extLst>
              <a:ext uri="{FF2B5EF4-FFF2-40B4-BE49-F238E27FC236}">
                <a16:creationId xmlns:a16="http://schemas.microsoft.com/office/drawing/2014/main" id="{62607DD7-FD68-423F-8CAD-9C36FF1605D4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19113" y="4616862"/>
            <a:ext cx="5693569" cy="215444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sv" noProof="0"/>
              <a:t>Name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6A62BB1-0DA7-4E41-9F7A-6C2CFE54250E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1BA462-2946-4163-B2CE-B44C8E5721B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4" name="AutoShape 4">
            <a:extLst>
              <a:ext uri="{FF2B5EF4-FFF2-40B4-BE49-F238E27FC236}">
                <a16:creationId xmlns:a16="http://schemas.microsoft.com/office/drawing/2014/main" id="{510C1027-9FFF-4D5E-B4B5-42C2FFFB5E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306536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17" name="AutoShape 3">
            <a:extLst>
              <a:ext uri="{FF2B5EF4-FFF2-40B4-BE49-F238E27FC236}">
                <a16:creationId xmlns:a16="http://schemas.microsoft.com/office/drawing/2014/main" id="{91A1A5E5-EC1A-45F6-A5A8-A9F67657C572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193037" y="585222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87571F0-98B1-44E8-9E7A-FC90C7446D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1074309" y="5300493"/>
            <a:ext cx="913684" cy="913684"/>
          </a:xfrm>
          <a:noFill/>
        </p:spPr>
        <p:txBody>
          <a:bodyPr rtlCol="0" anchor="ctr"/>
          <a:lstStyle>
            <a:lvl1pPr marL="0" indent="0" algn="ctr" rtl="0">
              <a:buNone/>
              <a:defRPr/>
            </a:lvl1pPr>
          </a:lstStyle>
          <a:p>
            <a:pPr rtl="0"/>
            <a:r>
              <a:rPr lang="sv"/>
              <a:t>QR </a:t>
            </a:r>
            <a:br>
              <a:rPr lang="en-GB"/>
            </a:br>
            <a:r>
              <a:rPr lang="sv"/>
              <a:t>cod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4D5E08A-FD2D-49F1-A804-B9E7AF13CD9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00799" y="4616862"/>
            <a:ext cx="3711753" cy="430887"/>
          </a:xfrm>
        </p:spPr>
        <p:txBody>
          <a:bodyPr rtlCol="0">
            <a:spAutoFit/>
          </a:bodyPr>
          <a:lstStyle>
            <a:lvl1pPr marL="0" indent="0" rtl="0">
              <a:buNone/>
              <a:defRPr sz="14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 rtl="0"/>
            <a:r>
              <a:rPr lang="sv"/>
              <a:t>Learn more about our company</a:t>
            </a:r>
            <a:br>
              <a:rPr lang="en-GB"/>
            </a:br>
            <a:r>
              <a:rPr lang="sv"/>
              <a:t>Please enter your URL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86766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68569496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 descr="Ein Bild, das Zeichnung, Essen enthält.&#10;&#10;Automatisch generierte Beschreibung">
            <a:extLst>
              <a:ext uri="{FF2B5EF4-FFF2-40B4-BE49-F238E27FC236}">
                <a16:creationId xmlns:a16="http://schemas.microsoft.com/office/drawing/2014/main" id="{81975252-B705-47E4-B273-7E3E8C4C835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8719" y="2790306"/>
            <a:ext cx="4160913" cy="1277389"/>
          </a:xfrm>
          <a:prstGeom prst="rect">
            <a:avLst/>
          </a:prstGeom>
        </p:spPr>
      </p:pic>
      <p:sp>
        <p:nvSpPr>
          <p:cNvPr id="38" name="Rechteck 37">
            <a:extLst>
              <a:ext uri="{FF2B5EF4-FFF2-40B4-BE49-F238E27FC236}">
                <a16:creationId xmlns:a16="http://schemas.microsoft.com/office/drawing/2014/main" id="{34966E20-C08B-417E-BC28-DEE6FD70F92A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de-DE" noProof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6FDCF0B2-26EC-4372-BEEC-1997CF0749DC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de-DE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1565936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A8999C-CB6C-59A3-0216-F7CC1BA5FC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794" y="2586633"/>
            <a:ext cx="9148763" cy="923330"/>
          </a:xfrm>
        </p:spPr>
        <p:txBody>
          <a:bodyPr rtlCol="0" anchor="b"/>
          <a:lstStyle>
            <a:lvl1pPr algn="ctr">
              <a:defRPr sz="6000"/>
            </a:lvl1pPr>
          </a:lstStyle>
          <a:p>
            <a:pPr rtl="0"/>
            <a:r>
              <a:rPr lang="sv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07803E-7529-91AB-D4A5-93928745E0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794" y="3602038"/>
            <a:ext cx="9148763" cy="1655762"/>
          </a:xfrm>
        </p:spPr>
        <p:txBody>
          <a:bodyPr rtlCol="0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sv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66FDFF-475C-09FD-9CEF-88EFCB22DD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E4874A-F568-82A4-D431-A2612E7615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59F015-4569-2A72-4053-64FCE6720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EEC234E5-33F5-4408-9231-62FD3F1E43CF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87629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28848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23">
            <a:extLst>
              <a:ext uri="{FF2B5EF4-FFF2-40B4-BE49-F238E27FC236}">
                <a16:creationId xmlns:a16="http://schemas.microsoft.com/office/drawing/2014/main" id="{D3F36EC0-A559-4161-BA7B-B10832F26DE3}"/>
              </a:ext>
            </a:extLst>
          </p:cNvPr>
          <p:cNvSpPr/>
          <p:nvPr userDrawn="1"/>
        </p:nvSpPr>
        <p:spPr>
          <a:xfrm>
            <a:off x="0" y="1268413"/>
            <a:ext cx="12198350" cy="50768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sv"/>
              <a:t> -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E8A3D2DE-E237-4C9C-9BB4-1F35589D0243}"/>
              </a:ext>
            </a:extLst>
          </p:cNvPr>
          <p:cNvSpPr txBox="1"/>
          <p:nvPr userDrawn="1"/>
        </p:nvSpPr>
        <p:spPr>
          <a:xfrm>
            <a:off x="519113" y="1675253"/>
            <a:ext cx="11415312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rtl="0">
              <a:buNone/>
            </a:pPr>
            <a:r>
              <a:rPr lang="sv" sz="2400"/>
              <a:t>This document contains confidential information which is legally privileged.</a:t>
            </a:r>
            <a:br>
              <a:rPr lang="en-US" sz="2400"/>
            </a:br>
            <a:endParaRPr lang="en-US" sz="2400"/>
          </a:p>
          <a:p>
            <a:pPr marL="0" indent="0" rtl="0">
              <a:buNone/>
            </a:pPr>
            <a:r>
              <a:rPr lang="sv" sz="2400"/>
              <a:t>The information is proprietary to tesa SE. Any disclosure, use, copying </a:t>
            </a:r>
            <a:br>
              <a:rPr lang="en-US" sz="2400"/>
            </a:br>
            <a:r>
              <a:rPr lang="sv" sz="2400"/>
              <a:t>or distribution of the contents of this document, in whole or part, is strictly </a:t>
            </a:r>
            <a:br>
              <a:rPr lang="en-US" sz="2400"/>
            </a:br>
            <a:r>
              <a:rPr lang="sv" sz="2400"/>
              <a:t>prohibited without the written permission of tesa SE.</a:t>
            </a:r>
          </a:p>
        </p:txBody>
      </p:sp>
      <p:sp>
        <p:nvSpPr>
          <p:cNvPr id="21" name="Titel 5">
            <a:extLst>
              <a:ext uri="{FF2B5EF4-FFF2-40B4-BE49-F238E27FC236}">
                <a16:creationId xmlns:a16="http://schemas.microsoft.com/office/drawing/2014/main" id="{10B99F4B-2158-4C5F-93CC-308FB6BE9599}"/>
              </a:ext>
            </a:extLst>
          </p:cNvPr>
          <p:cNvSpPr txBox="1">
            <a:spLocks/>
          </p:cNvSpPr>
          <p:nvPr userDrawn="1"/>
        </p:nvSpPr>
        <p:spPr>
          <a:xfrm>
            <a:off x="519113" y="401503"/>
            <a:ext cx="9682162" cy="67710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sv" sz="4400">
                <a:solidFill>
                  <a:schemeClr val="accent6"/>
                </a:solidFill>
              </a:rPr>
              <a:t>Confidentiality notic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864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1934C84-05B0-4B49-940A-504877AAAD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64188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1934C84-05B0-4B49-940A-504877AAAD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sv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sv"/>
              <a:t> -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19513F2-6D16-4B30-B277-DA93AABE2D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sv" noProof="0"/>
              <a:t>Agenda, Arial Narrow 24 pt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FB4BDA10-237F-455B-8AA5-496BDB921B7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sv" noProof="0"/>
              <a:t>Subheading, Arial Regular 14 pt</a:t>
            </a:r>
          </a:p>
        </p:txBody>
      </p:sp>
      <p:sp>
        <p:nvSpPr>
          <p:cNvPr id="42" name="Textplatzhalter 6">
            <a:extLst>
              <a:ext uri="{FF2B5EF4-FFF2-40B4-BE49-F238E27FC236}">
                <a16:creationId xmlns:a16="http://schemas.microsoft.com/office/drawing/2014/main" id="{4F7DE801-8810-45FA-BC4C-E8D6B540B0A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3413" y="1386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sv" noProof="0"/>
              <a:t>X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603B8832-9095-42BE-89DB-217ED5F0A4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9175" y="1386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sv" noProof="0"/>
              <a:t>Chapter name</a:t>
            </a:r>
            <a:br>
              <a:rPr lang="en-GB" noProof="0"/>
            </a:br>
            <a:r>
              <a:rPr lang="sv" noProof="0"/>
              <a:t>Two lines possibl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25AAB68D-2E26-460B-85F0-48A42CED35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9175" y="5533844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sv" noProof="0"/>
              <a:t>Chapter name</a:t>
            </a:r>
            <a:br>
              <a:rPr lang="en-GB" noProof="0"/>
            </a:br>
            <a:r>
              <a:rPr lang="sv" noProof="0"/>
              <a:t>Two lines possible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6744C747-60B1-43A3-813A-4A3D30BCBD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3413" y="5533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sv" noProof="0"/>
              <a:t>X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D4343A3A-6456-43E4-A2B3-5C7FDDDC28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9175" y="22158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sv" noProof="0"/>
              <a:t>Chapter name</a:t>
            </a:r>
            <a:br>
              <a:rPr lang="en-GB" noProof="0"/>
            </a:br>
            <a:r>
              <a:rPr lang="sv" noProof="0"/>
              <a:t>Two lines possibl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ECB6FA10-DF93-4B5D-BDF6-073474269E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3413" y="2215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sv" noProof="0"/>
              <a:t>X</a:t>
            </a:r>
          </a:p>
        </p:txBody>
      </p:sp>
      <p:sp>
        <p:nvSpPr>
          <p:cNvPr id="48" name="Textplatzhalter 6">
            <a:extLst>
              <a:ext uri="{FF2B5EF4-FFF2-40B4-BE49-F238E27FC236}">
                <a16:creationId xmlns:a16="http://schemas.microsoft.com/office/drawing/2014/main" id="{18A9B079-5EBF-44DD-813A-770B71EDF6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19175" y="3045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sv" noProof="0"/>
              <a:t>Chapter name</a:t>
            </a:r>
            <a:br>
              <a:rPr lang="en-GB" noProof="0"/>
            </a:br>
            <a:r>
              <a:rPr lang="sv" noProof="0"/>
              <a:t>Two lines possible</a:t>
            </a:r>
          </a:p>
        </p:txBody>
      </p:sp>
      <p:sp>
        <p:nvSpPr>
          <p:cNvPr id="49" name="Textplatzhalter 6">
            <a:extLst>
              <a:ext uri="{FF2B5EF4-FFF2-40B4-BE49-F238E27FC236}">
                <a16:creationId xmlns:a16="http://schemas.microsoft.com/office/drawing/2014/main" id="{06BD0A8A-0AF9-4EF6-B828-8C21EECFCFC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3413" y="3874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sv" noProof="0"/>
              <a:t>X</a:t>
            </a:r>
          </a:p>
        </p:txBody>
      </p:sp>
      <p:sp>
        <p:nvSpPr>
          <p:cNvPr id="50" name="Textplatzhalter 6">
            <a:extLst>
              <a:ext uri="{FF2B5EF4-FFF2-40B4-BE49-F238E27FC236}">
                <a16:creationId xmlns:a16="http://schemas.microsoft.com/office/drawing/2014/main" id="{AFF09919-7051-4DEC-B545-A2ABBBB9CD7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19175" y="38748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sv" noProof="0"/>
              <a:t>Chapter name</a:t>
            </a:r>
            <a:br>
              <a:rPr lang="en-GB" noProof="0"/>
            </a:br>
            <a:r>
              <a:rPr lang="sv" noProof="0"/>
              <a:t>Two lines possible</a:t>
            </a:r>
          </a:p>
        </p:txBody>
      </p:sp>
      <p:sp>
        <p:nvSpPr>
          <p:cNvPr id="51" name="Textplatzhalter 6">
            <a:extLst>
              <a:ext uri="{FF2B5EF4-FFF2-40B4-BE49-F238E27FC236}">
                <a16:creationId xmlns:a16="http://schemas.microsoft.com/office/drawing/2014/main" id="{F85B89BD-7B5D-487F-AA31-8A50D42ABC9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19175" y="4704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sv" noProof="0"/>
              <a:t>Chapter name</a:t>
            </a:r>
            <a:br>
              <a:rPr lang="en-GB" noProof="0"/>
            </a:br>
            <a:r>
              <a:rPr lang="sv" noProof="0"/>
              <a:t>Two lines possible</a:t>
            </a:r>
          </a:p>
        </p:txBody>
      </p:sp>
      <p:sp>
        <p:nvSpPr>
          <p:cNvPr id="52" name="Textplatzhalter 6">
            <a:extLst>
              <a:ext uri="{FF2B5EF4-FFF2-40B4-BE49-F238E27FC236}">
                <a16:creationId xmlns:a16="http://schemas.microsoft.com/office/drawing/2014/main" id="{A18A54A3-537E-499B-8B0B-4BA0B842535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3413" y="4704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sv" noProof="0"/>
              <a:t>X</a:t>
            </a:r>
          </a:p>
        </p:txBody>
      </p:sp>
      <p:sp>
        <p:nvSpPr>
          <p:cNvPr id="53" name="Textplatzhalter 6">
            <a:extLst>
              <a:ext uri="{FF2B5EF4-FFF2-40B4-BE49-F238E27FC236}">
                <a16:creationId xmlns:a16="http://schemas.microsoft.com/office/drawing/2014/main" id="{8F61C44E-C8A5-4FF1-9763-650588FE39F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3413" y="3045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sv" noProof="0"/>
              <a:t>X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126826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75C3BDB-B576-48B2-AE93-49CDFF05BF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5447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75C3BDB-B576-48B2-AE93-49CDFF05BF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sv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sv"/>
              <a:t> -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3F34F986-39A7-46A4-A304-4191AEF775E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210300" y="1268411"/>
            <a:ext cx="5724126" cy="5075237"/>
          </a:xfrm>
          <a:solidFill>
            <a:schemeClr val="bg2"/>
          </a:solidFill>
        </p:spPr>
        <p:txBody>
          <a:bodyPr tIns="0" rtlCol="0" anchor="ctr" anchorCtr="0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sv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2A6072-B13B-43BA-A79F-CF97EEA980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sv"/>
              <a:t>Agenda with picture, </a:t>
            </a:r>
            <a:r>
              <a:rPr lang="sv" noProof="0"/>
              <a:t>Arial Narrow 24 pt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279E223-46F6-4E19-8B22-F889A9818D8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sv" noProof="0"/>
              <a:t>Subheading, Arial Regular 14 pt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29FC78D0-1F5F-45CE-9E25-4B3F99739E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3413" y="1386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sv" noProof="0"/>
              <a:t>X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8D91C1AB-433E-43D5-B652-FF20FA6FFD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9175" y="1386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sv" noProof="0"/>
              <a:t>Chapter name</a:t>
            </a:r>
            <a:br>
              <a:rPr lang="en-GB" noProof="0"/>
            </a:br>
            <a:r>
              <a:rPr lang="sv" noProof="0"/>
              <a:t>Two lines possible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C69CE896-E8D6-4807-B676-5834EF70E7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9175" y="5533844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sv" noProof="0"/>
              <a:t>Chapter name</a:t>
            </a:r>
            <a:br>
              <a:rPr lang="en-GB" noProof="0"/>
            </a:br>
            <a:r>
              <a:rPr lang="sv" noProof="0"/>
              <a:t>Two lines possible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92FD54BD-62E7-4A80-8154-40F8B4858D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3413" y="5533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sv" noProof="0"/>
              <a:t>X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D3003A34-8F08-4C69-B393-CAE2F63B487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9175" y="22158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sv" noProof="0"/>
              <a:t>Chapter name</a:t>
            </a:r>
            <a:br>
              <a:rPr lang="en-GB" noProof="0"/>
            </a:br>
            <a:r>
              <a:rPr lang="sv" noProof="0"/>
              <a:t>Two lines possible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DB02208-D528-4FCB-A4C1-9CB7F7F663D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3413" y="2215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sv" noProof="0"/>
              <a:t>X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B1C723DB-3B59-4B97-88C7-483B7D894A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19175" y="3045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sv" noProof="0"/>
              <a:t>Chapter name</a:t>
            </a:r>
            <a:br>
              <a:rPr lang="en-GB" noProof="0"/>
            </a:br>
            <a:r>
              <a:rPr lang="sv" noProof="0"/>
              <a:t>Two lines possible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7AFF0EE7-3A49-4A17-9409-B33B8EBA47F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3413" y="3874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sv" noProof="0"/>
              <a:t>X</a:t>
            </a:r>
          </a:p>
        </p:txBody>
      </p:sp>
      <p:sp>
        <p:nvSpPr>
          <p:cNvPr id="41" name="Textplatzhalter 6">
            <a:extLst>
              <a:ext uri="{FF2B5EF4-FFF2-40B4-BE49-F238E27FC236}">
                <a16:creationId xmlns:a16="http://schemas.microsoft.com/office/drawing/2014/main" id="{D6335046-619F-4466-B53B-C804BFBAB27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19175" y="38748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sv" noProof="0"/>
              <a:t>Chapter name</a:t>
            </a:r>
            <a:br>
              <a:rPr lang="en-GB" noProof="0"/>
            </a:br>
            <a:r>
              <a:rPr lang="sv" noProof="0"/>
              <a:t>Two lines possible</a:t>
            </a:r>
          </a:p>
        </p:txBody>
      </p:sp>
      <p:sp>
        <p:nvSpPr>
          <p:cNvPr id="42" name="Textplatzhalter 6">
            <a:extLst>
              <a:ext uri="{FF2B5EF4-FFF2-40B4-BE49-F238E27FC236}">
                <a16:creationId xmlns:a16="http://schemas.microsoft.com/office/drawing/2014/main" id="{6EA500B1-372A-4A93-BE34-CBDE7C0A37D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19175" y="4704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sv" noProof="0"/>
              <a:t>Chapter name</a:t>
            </a:r>
            <a:br>
              <a:rPr lang="en-GB" noProof="0"/>
            </a:br>
            <a:r>
              <a:rPr lang="sv" noProof="0"/>
              <a:t>Two lines possibl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2AA03520-112B-40A6-AA8C-99DE9229A7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3413" y="4704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sv" noProof="0"/>
              <a:t>X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BDFA1BFD-CD21-4757-AB17-A1399B67427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3413" y="3045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sv" noProof="0"/>
              <a:t>X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39407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1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04303759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9114" y="3852316"/>
            <a:ext cx="11418886" cy="553998"/>
          </a:xfrm>
          <a:noFill/>
        </p:spPr>
        <p:txBody>
          <a:bodyPr wrap="square" lIns="0" tIns="0" rIns="0" bIns="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sv" noProof="0"/>
              <a:t>Chapter slide, Arial Narrow 36 pt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9BBD5F2-A2AD-4462-85E7-B1D6B37E8DDD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22" name="Rectangle 1069">
              <a:extLst>
                <a:ext uri="{FF2B5EF4-FFF2-40B4-BE49-F238E27FC236}">
                  <a16:creationId xmlns:a16="http://schemas.microsoft.com/office/drawing/2014/main" id="{87BDA379-8B2E-4753-AEBE-3DAE6F59093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F6B7B515-D118-4609-83A6-3B768C9F3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D8AE9800-5A98-46A1-BC51-E1E4929F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0DA4966-C6FE-4883-8339-0F085B39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B54EDBA-3840-461E-8621-BD3EFC04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E0D6095-A00C-4964-9766-C85D67289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5EA789D-6253-4A32-A97A-12BA38CE5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F4994B61-25E9-4094-A2F1-8335B090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73171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62"/>
            </p:custDataLst>
            <p:extLst>
              <p:ext uri="{D42A27DB-BD31-4B8C-83A1-F6EECF244321}">
                <p14:modId xmlns:p14="http://schemas.microsoft.com/office/powerpoint/2010/main" val="90246915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Folie" r:id="rId63" imgW="270" imgH="270" progId="TCLayout.ActiveDocument.1">
                  <p:embed/>
                </p:oleObj>
              </mc:Choice>
              <mc:Fallback>
                <p:oleObj name="think-cell Folie" r:id="rId6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platzhalter 9"/>
          <p:cNvSpPr>
            <a:spLocks noGrp="1"/>
          </p:cNvSpPr>
          <p:nvPr>
            <p:ph type="title"/>
          </p:nvPr>
        </p:nvSpPr>
        <p:spPr>
          <a:xfrm>
            <a:off x="268289" y="624807"/>
            <a:ext cx="9682162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rtl="0"/>
            <a:r>
              <a:rPr lang="sv"/>
              <a:t>Agenda, Arial Narrow 24pt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idx="1"/>
          </p:nvPr>
        </p:nvSpPr>
        <p:spPr>
          <a:xfrm>
            <a:off x="269877" y="1270158"/>
            <a:ext cx="11668123" cy="507349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 rtl="0"/>
            <a:r>
              <a:rPr lang="sv"/>
              <a:t>Content text, Arial Regular 14pt</a:t>
            </a:r>
          </a:p>
          <a:p>
            <a:pPr lvl="1" rtl="0"/>
            <a:r>
              <a:rPr lang="sv"/>
              <a:t>Content bullet, Arial Regular 14pt </a:t>
            </a:r>
          </a:p>
          <a:p>
            <a:pPr lvl="2" rtl="0"/>
            <a:r>
              <a:rPr lang="sv"/>
              <a:t>Content bullet</a:t>
            </a:r>
            <a:endParaRPr lang="en-US" noProof="0"/>
          </a:p>
          <a:p>
            <a:pPr lvl="3" rtl="0"/>
            <a:r>
              <a:rPr lang="sv"/>
              <a:t>Content bullet</a:t>
            </a:r>
            <a:endParaRPr lang="en-US" noProof="0"/>
          </a:p>
          <a:p>
            <a:pPr lvl="4" rtl="0"/>
            <a:r>
              <a:rPr lang="sv"/>
              <a:t>Content bullet</a:t>
            </a:r>
            <a:endParaRPr lang="en-US" noProof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2"/>
          </p:nvPr>
        </p:nvSpPr>
        <p:spPr>
          <a:xfrm>
            <a:off x="10823421" y="6643445"/>
            <a:ext cx="1111005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 rtl="0">
              <a:defRPr sz="8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rtl="0"/>
            <a:endParaRPr lang="en-US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3"/>
          </p:nvPr>
        </p:nvSpPr>
        <p:spPr>
          <a:xfrm>
            <a:off x="269878" y="6643445"/>
            <a:ext cx="5068886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>
              <a:defRPr sz="8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rtl="0"/>
            <a:endParaRPr lang="en-US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4"/>
          </p:nvPr>
        </p:nvSpPr>
        <p:spPr>
          <a:xfrm>
            <a:off x="8200799" y="6643445"/>
            <a:ext cx="429245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>
              <a:defRPr sz="8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sv"/>
              <a:t> -</a:t>
            </a:r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D07815A7-0216-47A1-B54B-802950FC688D}"/>
              </a:ext>
            </a:extLst>
          </p:cNvPr>
          <p:cNvGrpSpPr>
            <a:grpSpLocks/>
          </p:cNvGrpSpPr>
          <p:nvPr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54" name="Rectangle 1069">
              <a:extLst>
                <a:ext uri="{FF2B5EF4-FFF2-40B4-BE49-F238E27FC236}">
                  <a16:creationId xmlns:a16="http://schemas.microsoft.com/office/drawing/2014/main" id="{7BEAF442-D062-4475-A3C9-1C0D86CBF68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55" name="AutoShape 4">
              <a:extLst>
                <a:ext uri="{FF2B5EF4-FFF2-40B4-BE49-F238E27FC236}">
                  <a16:creationId xmlns:a16="http://schemas.microsoft.com/office/drawing/2014/main" id="{0F8BA2F0-7912-4E52-B725-61325444A65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4CD46A96-E7A9-4CA8-8BBB-03793AA03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DBC59737-D72E-4543-A8A9-3E7CFEF26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4E07CAA4-3B71-4C2E-A638-2A57125E7AA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D6583C46-F83A-4637-B75F-339872D2A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186FA4BC-4110-4FC7-B267-8C5736B108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65" name="Freeform 11">
              <a:extLst>
                <a:ext uri="{FF2B5EF4-FFF2-40B4-BE49-F238E27FC236}">
                  <a16:creationId xmlns:a16="http://schemas.microsoft.com/office/drawing/2014/main" id="{17A99A11-77B6-4165-B2F3-09629B63C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69" name="Rechteck 68">
            <a:extLst>
              <a:ext uri="{FF2B5EF4-FFF2-40B4-BE49-F238E27FC236}">
                <a16:creationId xmlns:a16="http://schemas.microsoft.com/office/drawing/2014/main" id="{D0BF7607-8948-4FA0-82BB-AE865AB38AC6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FAA8DFCF-0390-4A57-9774-0B10EE42255A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61"/>
    </p:custDataLst>
    <p:extLst>
      <p:ext uri="{BB962C8B-B14F-4D97-AF65-F5344CB8AC3E}">
        <p14:creationId xmlns:p14="http://schemas.microsoft.com/office/powerpoint/2010/main" val="3190872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943" r:id="rId2"/>
    <p:sldLayoutId id="2147483911" r:id="rId3"/>
    <p:sldLayoutId id="2147483912" r:id="rId4"/>
    <p:sldLayoutId id="2147483913" r:id="rId5"/>
    <p:sldLayoutId id="2147483679" r:id="rId6"/>
    <p:sldLayoutId id="2147483914" r:id="rId7"/>
    <p:sldLayoutId id="2147483915" r:id="rId8"/>
    <p:sldLayoutId id="2147483916" r:id="rId9"/>
    <p:sldLayoutId id="2147483917" r:id="rId10"/>
    <p:sldLayoutId id="2147483918" r:id="rId11"/>
    <p:sldLayoutId id="2147483886" r:id="rId12"/>
    <p:sldLayoutId id="2147483887" r:id="rId13"/>
    <p:sldLayoutId id="2147483888" r:id="rId14"/>
    <p:sldLayoutId id="2147483889" r:id="rId15"/>
    <p:sldLayoutId id="2147483713" r:id="rId16"/>
    <p:sldLayoutId id="2147483720" r:id="rId17"/>
    <p:sldLayoutId id="2147483721" r:id="rId18"/>
    <p:sldLayoutId id="2147483724" r:id="rId19"/>
    <p:sldLayoutId id="2147483709" r:id="rId20"/>
    <p:sldLayoutId id="2147483706" r:id="rId21"/>
    <p:sldLayoutId id="2147483689" r:id="rId22"/>
    <p:sldLayoutId id="2147483722" r:id="rId23"/>
    <p:sldLayoutId id="2147483723" r:id="rId24"/>
    <p:sldLayoutId id="2147483726" r:id="rId25"/>
    <p:sldLayoutId id="2147483830" r:id="rId26"/>
    <p:sldLayoutId id="2147483833" r:id="rId27"/>
    <p:sldLayoutId id="2147483835" r:id="rId28"/>
    <p:sldLayoutId id="2147483831" r:id="rId29"/>
    <p:sldLayoutId id="2147483834" r:id="rId30"/>
    <p:sldLayoutId id="2147483832" r:id="rId31"/>
    <p:sldLayoutId id="2147483725" r:id="rId32"/>
    <p:sldLayoutId id="2147483731" r:id="rId33"/>
    <p:sldLayoutId id="2147483919" r:id="rId34"/>
    <p:sldLayoutId id="2147483920" r:id="rId35"/>
    <p:sldLayoutId id="2147483921" r:id="rId36"/>
    <p:sldLayoutId id="2147483922" r:id="rId37"/>
    <p:sldLayoutId id="2147483923" r:id="rId38"/>
    <p:sldLayoutId id="2147483924" r:id="rId39"/>
    <p:sldLayoutId id="2147483925" r:id="rId40"/>
    <p:sldLayoutId id="2147483926" r:id="rId41"/>
    <p:sldLayoutId id="2147483927" r:id="rId42"/>
    <p:sldLayoutId id="2147483928" r:id="rId43"/>
    <p:sldLayoutId id="2147483929" r:id="rId44"/>
    <p:sldLayoutId id="2147483930" r:id="rId45"/>
    <p:sldLayoutId id="2147483931" r:id="rId46"/>
    <p:sldLayoutId id="2147483932" r:id="rId47"/>
    <p:sldLayoutId id="2147483933" r:id="rId48"/>
    <p:sldLayoutId id="2147483934" r:id="rId49"/>
    <p:sldLayoutId id="2147483935" r:id="rId50"/>
    <p:sldLayoutId id="2147483936" r:id="rId51"/>
    <p:sldLayoutId id="2147483937" r:id="rId52"/>
    <p:sldLayoutId id="2147483938" r:id="rId53"/>
    <p:sldLayoutId id="2147483941" r:id="rId54"/>
    <p:sldLayoutId id="2147483939" r:id="rId55"/>
    <p:sldLayoutId id="2147483940" r:id="rId56"/>
    <p:sldLayoutId id="2147483666" r:id="rId57"/>
    <p:sldLayoutId id="2147483944" r:id="rId5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accent5"/>
        </a:buClr>
        <a:buSzPct val="100000"/>
        <a:buFont typeface="Arial" panose="020B0604020202020204" pitchFamily="34" charset="0"/>
        <a:buNone/>
        <a:defRPr lang="en-US" sz="1400" kern="1200" dirty="0" smtClean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80000" indent="-177800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975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40000" indent="-177800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720000" indent="-180975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346200" indent="-250825" algn="l" defTabSz="914400" rtl="0" eaLnBrk="1" latinLnBrk="0" hangingPunct="1">
        <a:spcBef>
          <a:spcPts val="500"/>
        </a:spcBef>
        <a:buClr>
          <a:schemeClr val="accent5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614488" indent="-252413" algn="l" defTabSz="914400" rtl="0" eaLnBrk="1" latinLnBrk="0" hangingPunct="1">
        <a:spcBef>
          <a:spcPts val="500"/>
        </a:spcBef>
        <a:buClr>
          <a:schemeClr val="accent5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9" userDrawn="1">
          <p15:clr>
            <a:srgbClr val="F26B43"/>
          </p15:clr>
        </p15:guide>
        <p15:guide id="2" pos="168" userDrawn="1">
          <p15:clr>
            <a:srgbClr val="F26B43"/>
          </p15:clr>
        </p15:guide>
        <p15:guide id="3" pos="7516" userDrawn="1">
          <p15:clr>
            <a:srgbClr val="F26B43"/>
          </p15:clr>
        </p15:guide>
        <p15:guide id="4" orient="horz" pos="3997" userDrawn="1">
          <p15:clr>
            <a:srgbClr val="F26B43"/>
          </p15:clr>
        </p15:guide>
        <p15:guide id="5" orient="horz" pos="164" userDrawn="1">
          <p15:clr>
            <a:srgbClr val="F26B43"/>
          </p15:clr>
        </p15:guide>
        <p15:guide id="13" orient="horz" pos="3861" userDrawn="1">
          <p15:clr>
            <a:srgbClr val="F26B43"/>
          </p15:clr>
        </p15:guide>
        <p15:guide id="14" orient="horz" pos="36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esa.com/en/industry/general-applications/mounting/team-4965-assortment" TargetMode="External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3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svg"/><Relationship Id="rId7" Type="http://schemas.openxmlformats.org/officeDocument/2006/relationships/image" Target="../media/image16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5.png"/><Relationship Id="rId11" Type="http://schemas.openxmlformats.org/officeDocument/2006/relationships/image" Target="../media/image20.svg"/><Relationship Id="rId5" Type="http://schemas.openxmlformats.org/officeDocument/2006/relationships/image" Target="../media/image14.sv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hyperlink" Target="https://www.tesa.com/en/industry/general-applications/mounting/team-4965-assortment" TargetMode="External"/><Relationship Id="rId1" Type="http://schemas.openxmlformats.org/officeDocument/2006/relationships/slideLayout" Target="../slideLayouts/slideLayout4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globe with a light inside&#10;&#10;Description automatically generated with medium confidence">
            <a:extLst>
              <a:ext uri="{FF2B5EF4-FFF2-40B4-BE49-F238E27FC236}">
                <a16:creationId xmlns:a16="http://schemas.microsoft.com/office/drawing/2014/main" id="{DE4E2AD4-1212-8606-0352-345A4BD49AE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l="17983" r="17983"/>
          <a:stretch>
            <a:fillRect/>
          </a:stretch>
        </p:blipFill>
        <p:spPr>
          <a:xfrm>
            <a:off x="0" y="1"/>
            <a:ext cx="12198350" cy="6350001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43D1CA-9089-3C23-570F-9551E3EB74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9114" y="1404897"/>
            <a:ext cx="2612996" cy="626701"/>
          </a:xfrm>
        </p:spPr>
        <p:txBody>
          <a:bodyPr rtlCol="0"/>
          <a:lstStyle/>
          <a:p>
            <a:pPr rtl="0"/>
            <a:r>
              <a:rPr lang="sv" dirty="0"/>
              <a:t>100 % origin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D11639-F974-A84C-A01A-676114ECE7D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9113" y="2103598"/>
            <a:ext cx="4189365" cy="626701"/>
          </a:xfrm>
        </p:spPr>
        <p:txBody>
          <a:bodyPr rtlCol="0"/>
          <a:lstStyle/>
          <a:p>
            <a:pPr rtl="0"/>
            <a:r>
              <a:rPr lang="sv" dirty="0"/>
              <a:t>40 % mindre koldioxid*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18EDB2-87A5-F67A-F661-66697A0012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9114" y="2802299"/>
            <a:ext cx="2933770" cy="626701"/>
          </a:xfrm>
        </p:spPr>
        <p:txBody>
          <a:bodyPr rtlCol="0"/>
          <a:lstStyle/>
          <a:p>
            <a:pPr rtl="0"/>
            <a:r>
              <a:rPr lang="sv" dirty="0"/>
              <a:t>Det gör skillnad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1A36DAF-B68F-00FE-1427-6EAD0B6AED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9113" y="5884669"/>
            <a:ext cx="11414027" cy="569387"/>
          </a:xfrm>
        </p:spPr>
        <p:txBody>
          <a:bodyPr vert="horz" lIns="0" tIns="0" rIns="0" bIns="0" rtlCol="0" anchor="t">
            <a:spAutoFit/>
          </a:bodyPr>
          <a:lstStyle/>
          <a:p>
            <a:pPr rtl="0"/>
            <a:r>
              <a:rPr lang="sv">
                <a:solidFill>
                  <a:schemeClr val="bg1"/>
                </a:solidFill>
                <a:cs typeface="Arial"/>
              </a:rPr>
              <a:t>Resurser och faktablad</a:t>
            </a:r>
            <a:endParaRPr lang="en-GB">
              <a:solidFill>
                <a:schemeClr val="bg1"/>
              </a:solidFill>
            </a:endParaRPr>
          </a:p>
          <a:p>
            <a:pPr rt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44853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8B718C63-76FF-47A4-61D0-EC294BDF69A4}"/>
              </a:ext>
            </a:extLst>
          </p:cNvPr>
          <p:cNvGrpSpPr/>
          <p:nvPr/>
        </p:nvGrpSpPr>
        <p:grpSpPr>
          <a:xfrm>
            <a:off x="495569" y="583026"/>
            <a:ext cx="6088111" cy="1202291"/>
            <a:chOff x="671512" y="576089"/>
            <a:chExt cx="6088111" cy="1202291"/>
          </a:xfrm>
        </p:grpSpPr>
        <p:sp>
          <p:nvSpPr>
            <p:cNvPr id="3" name="Content Placeholder 2">
              <a:extLst>
                <a:ext uri="{FF2B5EF4-FFF2-40B4-BE49-F238E27FC236}">
                  <a16:creationId xmlns:a16="http://schemas.microsoft.com/office/drawing/2014/main" id="{54995D09-8B27-EBCC-D227-A3608E02CC71}"/>
                </a:ext>
              </a:extLst>
            </p:cNvPr>
            <p:cNvSpPr txBox="1">
              <a:spLocks/>
            </p:cNvSpPr>
            <p:nvPr/>
          </p:nvSpPr>
          <p:spPr>
            <a:xfrm>
              <a:off x="671512" y="576089"/>
              <a:ext cx="6088111" cy="626701"/>
            </a:xfrm>
            <a:prstGeom prst="rect">
              <a:avLst/>
            </a:prstGeom>
            <a:solidFill>
              <a:schemeClr val="accent5"/>
            </a:solidFill>
          </p:spPr>
          <p:txBody>
            <a:bodyPr vert="horz" wrap="none" lIns="108000" tIns="36000" rIns="108000" bIns="36000" rtlCol="0" anchor="ctr">
              <a:norm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None/>
                <a:defRPr lang="en-US" sz="3600" b="0" kern="1200">
                  <a:solidFill>
                    <a:schemeClr val="bg1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180000" indent="-1778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540000" indent="-1778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tabLst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1346200" indent="-250825" algn="l" defTabSz="914400" rtl="0" eaLnBrk="1" latinLnBrk="0" hangingPunct="1">
                <a:spcBef>
                  <a:spcPts val="5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6pPr>
              <a:lvl7pPr marL="1614488" indent="-252413" algn="l" defTabSz="914400" rtl="0" eaLnBrk="1" latinLnBrk="0" hangingPunct="1">
                <a:spcBef>
                  <a:spcPts val="5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sv" sz="3200" b="1">
                  <a:latin typeface="Arial" panose="020B0604020202020204" pitchFamily="34" charset="0"/>
                  <a:ea typeface="Calibri" panose="020F0502020204030204" pitchFamily="34" charset="0"/>
                </a:rPr>
                <a:t>tesa</a:t>
              </a:r>
              <a:r>
                <a:rPr lang="sv" sz="3200" b="1" baseline="30000">
                  <a:latin typeface="Arial" panose="020B0604020202020204" pitchFamily="34" charset="0"/>
                  <a:ea typeface="Calibri" panose="020F0502020204030204" pitchFamily="34" charset="0"/>
                </a:rPr>
                <a:t>®</a:t>
              </a:r>
              <a:r>
                <a:rPr lang="sv" sz="3200" b="1">
                  <a:latin typeface="Arial" panose="020B0604020202020204" pitchFamily="34" charset="0"/>
                  <a:ea typeface="Calibri" panose="020F0502020204030204" pitchFamily="34" charset="0"/>
                </a:rPr>
                <a:t> 4965 Original Next Gen</a:t>
              </a:r>
              <a:r>
                <a:rPr lang="sv" sz="3200">
                  <a:latin typeface="Arial" panose="020B0604020202020204" pitchFamily="34" charset="0"/>
                  <a:ea typeface="Calibri" panose="020F0502020204030204" pitchFamily="34" charset="0"/>
                </a:rPr>
                <a:t> </a:t>
              </a:r>
              <a:endParaRPr lang="en-GB" sz="3200"/>
            </a:p>
          </p:txBody>
        </p:sp>
        <p:sp>
          <p:nvSpPr>
            <p:cNvPr id="5" name="Text Placeholder 10">
              <a:extLst>
                <a:ext uri="{FF2B5EF4-FFF2-40B4-BE49-F238E27FC236}">
                  <a16:creationId xmlns:a16="http://schemas.microsoft.com/office/drawing/2014/main" id="{68BC7F06-50E9-324E-CC36-E841919C8C63}"/>
                </a:ext>
              </a:extLst>
            </p:cNvPr>
            <p:cNvSpPr txBox="1">
              <a:spLocks/>
            </p:cNvSpPr>
            <p:nvPr/>
          </p:nvSpPr>
          <p:spPr>
            <a:xfrm>
              <a:off x="671512" y="1274790"/>
              <a:ext cx="5045421" cy="503590"/>
            </a:xfrm>
            <a:prstGeom prst="rect">
              <a:avLst/>
            </a:prstGeom>
            <a:solidFill>
              <a:schemeClr val="accent5"/>
            </a:solidFill>
          </p:spPr>
          <p:txBody>
            <a:bodyPr vert="horz" wrap="square" lIns="108000" tIns="36000" rIns="108000" bIns="3600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None/>
                <a:defRPr lang="en-US" sz="3600" b="0" kern="1200">
                  <a:solidFill>
                    <a:schemeClr val="bg1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180000" indent="-1778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540000" indent="-1778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tabLst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1346200" indent="-250825" algn="l" defTabSz="914400" rtl="0" eaLnBrk="1" latinLnBrk="0" hangingPunct="1">
                <a:spcBef>
                  <a:spcPts val="5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6pPr>
              <a:lvl7pPr marL="1614488" indent="-252413" algn="l" defTabSz="914400" rtl="0" eaLnBrk="1" latinLnBrk="0" hangingPunct="1">
                <a:spcBef>
                  <a:spcPts val="5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sv" sz="2800" dirty="0"/>
                <a:t>Samma värde, bara mindre koldioxid</a:t>
              </a:r>
              <a:endParaRPr lang="en-GB" sz="2800" dirty="0"/>
            </a:p>
          </p:txBody>
        </p:sp>
      </p:grp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C0D0E6F-3354-000A-4292-F596796890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1291" y="2363385"/>
            <a:ext cx="5980949" cy="2831544"/>
          </a:xfrm>
        </p:spPr>
        <p:txBody>
          <a:bodyPr rtlCol="0"/>
          <a:lstStyle/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sv" sz="2200"/>
              <a:t> -40 %* koldioxid baserat på siffror från ISO 14067-verifierad studie</a:t>
            </a:r>
          </a:p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sv" sz="2200"/>
              <a:t>Biomassabalanserade häftämneskomponenter och 90 % PET i bäraren som återvunnits efter konsumentledet</a:t>
            </a:r>
          </a:p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sv" sz="2200"/>
              <a:t>Fungerar lika tillförlitligt som den äldre versionen i tester</a:t>
            </a:r>
          </a:p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endParaRPr lang="en-US" sz="2200"/>
          </a:p>
        </p:txBody>
      </p:sp>
      <p:pic>
        <p:nvPicPr>
          <p:cNvPr id="4" name="Picture Placeholder 3" descr="A person in a white coat and a beard standing next to a person in a white coat&#10;&#10;Description automatically generated">
            <a:extLst>
              <a:ext uri="{FF2B5EF4-FFF2-40B4-BE49-F238E27FC236}">
                <a16:creationId xmlns:a16="http://schemas.microsoft.com/office/drawing/2014/main" id="{DB6AA8A1-4627-ED46-9D68-3E14EEB8E9B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52" t="2343" r="25573" b="7324"/>
          <a:stretch/>
        </p:blipFill>
        <p:spPr>
          <a:xfrm flipH="1">
            <a:off x="6839711" y="0"/>
            <a:ext cx="5358637" cy="6343650"/>
          </a:xfrm>
          <a:prstGeom prst="rect">
            <a:avLst/>
          </a:prstGeom>
        </p:spPr>
      </p:pic>
      <p:grpSp>
        <p:nvGrpSpPr>
          <p:cNvPr id="9" name="Gruppieren 52">
            <a:extLst>
              <a:ext uri="{FF2B5EF4-FFF2-40B4-BE49-F238E27FC236}">
                <a16:creationId xmlns:a16="http://schemas.microsoft.com/office/drawing/2014/main" id="{80A7F609-8CA1-F207-0B86-3F7E5294D434}"/>
              </a:ext>
            </a:extLst>
          </p:cNvPr>
          <p:cNvGrpSpPr>
            <a:grpSpLocks/>
          </p:cNvGrpSpPr>
          <p:nvPr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0" name="Rectangle 1069">
              <a:extLst>
                <a:ext uri="{FF2B5EF4-FFF2-40B4-BE49-F238E27FC236}">
                  <a16:creationId xmlns:a16="http://schemas.microsoft.com/office/drawing/2014/main" id="{F15EE96E-DBE9-FAB2-B4A0-E399BC04315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1" name="AutoShape 4">
              <a:extLst>
                <a:ext uri="{FF2B5EF4-FFF2-40B4-BE49-F238E27FC236}">
                  <a16:creationId xmlns:a16="http://schemas.microsoft.com/office/drawing/2014/main" id="{3DB3685C-439D-FF64-E6C2-5256ED089EA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3482141-1DB4-23BE-131C-D5134F51B8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1978C4CD-C80E-217E-99CA-FEBB3EB53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737E2AF8-25BF-8F95-5FCD-BB55F759F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72E4013-2E5B-DCC9-8405-462807000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F94ECB0F-A5D2-BDE0-2F83-01329A3CF9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52E61C41-E80F-EDB1-BF47-0FE2BEEB3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C29A96B2-6A4A-2249-2DCF-5C8CDCC4FF08}"/>
              </a:ext>
            </a:extLst>
          </p:cNvPr>
          <p:cNvSpPr txBox="1"/>
          <p:nvPr/>
        </p:nvSpPr>
        <p:spPr>
          <a:xfrm>
            <a:off x="529434" y="5683997"/>
            <a:ext cx="6021614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rtl="0">
              <a:spcAft>
                <a:spcPts val="800"/>
              </a:spcAft>
            </a:pPr>
            <a:r>
              <a:rPr lang="sv" sz="800" kern="0">
                <a:latin typeface="Arial"/>
                <a:ea typeface="Calibri"/>
                <a:cs typeface="Times New Roman"/>
              </a:rPr>
              <a:t>*Minskat koldioxidavtryck (PCF) för nya tesa® 4965 Original Next Gen (50 m x 50 mm handrulle, PV0: röd MOPP-liner) jämfört med nuvarande tesa® 4965 Original (50 m x 50 mm handrulle, PV0: röd MOPP-liner) beräknat 2023 med Cradle-to-Gate-värden, däribland biogen koldioxidupptagning. Individuella PCF-värden för de andra linertyperna (PV1, PV2, PV4) och ytterligare information hittar du i vår jämförande PCF-beräkning enligt ISO 14067 på </a:t>
            </a:r>
            <a:r>
              <a:rPr lang="sv" sz="800" kern="0">
                <a:latin typeface="Arial"/>
                <a:ea typeface="Calibri"/>
                <a:cs typeface="Times New Roman"/>
                <a:hlinkClick r:id="rId3"/>
              </a:rPr>
              <a:t>tesa.com/4965-report</a:t>
            </a:r>
            <a:r>
              <a:rPr lang="sv" sz="800" kern="0">
                <a:latin typeface="Arial"/>
                <a:ea typeface="Calibri"/>
                <a:cs typeface="Times New Roman"/>
              </a:rPr>
              <a:t>.</a:t>
            </a:r>
            <a:endParaRPr lang="en-GB" sz="800" kern="100" dirty="0">
              <a:latin typeface="Arial"/>
              <a:ea typeface="Calibri"/>
              <a:cs typeface="Times New Roman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DBFCAE-8949-0E13-5801-26EC135FADC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pPr/>
              <a:t>2</a:t>
            </a:fld>
            <a:r>
              <a:rPr lang="sv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41738670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735BF04A-E584-E184-D559-9D5E34FF0F18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2"/>
          <a:stretch>
            <a:fillRect/>
          </a:stretch>
        </p:blipFill>
        <p:spPr>
          <a:xfrm>
            <a:off x="4376570" y="1995145"/>
            <a:ext cx="7077410" cy="40391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078781D-5159-C32F-FACC-2B27678A100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66713" y="2142967"/>
            <a:ext cx="3671887" cy="3743484"/>
          </a:xfrm>
          <a:noFill/>
        </p:spPr>
        <p:txBody>
          <a:bodyPr bIns="144000" rtlCol="0"/>
          <a:lstStyle/>
          <a:p>
            <a:pPr marL="285750" indent="-285750" rtl="0">
              <a:buClr>
                <a:srgbClr val="009FDF"/>
              </a:buClr>
              <a:buFont typeface="Wingdings" pitchFamily="2" charset="2"/>
              <a:buChar char="§"/>
            </a:pPr>
            <a:r>
              <a:rPr lang="sv" sz="1400" b="0">
                <a:solidFill>
                  <a:schemeClr val="tx1"/>
                </a:solidFill>
              </a:rPr>
              <a:t>Inkluderar biomassabalanserade häftämneskomponenter</a:t>
            </a:r>
          </a:p>
          <a:p>
            <a:pPr marL="285750" indent="-285750" rtl="0">
              <a:buClr>
                <a:srgbClr val="009FDF"/>
              </a:buClr>
              <a:buFont typeface="Wingdings" pitchFamily="2" charset="2"/>
              <a:buChar char="§"/>
            </a:pPr>
            <a:r>
              <a:rPr lang="sv" sz="1400" b="0">
                <a:solidFill>
                  <a:schemeClr val="tx1"/>
                </a:solidFill>
              </a:rPr>
              <a:t>Icke-fossila råvaror används i motsvarande produktionsmängder</a:t>
            </a:r>
          </a:p>
          <a:p>
            <a:pPr marL="285750" indent="-285750" rtl="0">
              <a:buClr>
                <a:srgbClr val="009FDF"/>
              </a:buClr>
              <a:buFont typeface="Wingdings" pitchFamily="2" charset="2"/>
              <a:buChar char="§"/>
            </a:pPr>
            <a:r>
              <a:rPr lang="sv" sz="1400" b="0">
                <a:solidFill>
                  <a:schemeClr val="tx1"/>
                </a:solidFill>
              </a:rPr>
              <a:t>Komponenterna spåras, verifieras och certifieras av ISCC PLUS </a:t>
            </a:r>
          </a:p>
          <a:p>
            <a:pPr marL="285750" indent="-285750" rtl="0">
              <a:buClr>
                <a:srgbClr val="009FDF"/>
              </a:buClr>
              <a:buFont typeface="Wingdings" pitchFamily="2" charset="2"/>
              <a:buChar char="§"/>
            </a:pPr>
            <a:r>
              <a:rPr lang="sv" sz="1400" b="0">
                <a:solidFill>
                  <a:schemeClr val="tx1"/>
                </a:solidFill>
              </a:rPr>
              <a:t>Säkerställer att hela leveranskedjan innehåller tillräckligt med biomassabalanserade häftämneskomponenter</a:t>
            </a:r>
          </a:p>
          <a:p>
            <a:pPr marL="285750" indent="-285750" rtl="0">
              <a:buClr>
                <a:srgbClr val="009FDF"/>
              </a:buClr>
              <a:buFont typeface="Wingdings" pitchFamily="2" charset="2"/>
              <a:buChar char="§"/>
            </a:pPr>
            <a:r>
              <a:rPr lang="sv" sz="1400" b="0">
                <a:solidFill>
                  <a:schemeClr val="tx1"/>
                </a:solidFill>
              </a:rPr>
              <a:t>Gör det möjligt för kunderna att utforma mer hållbara produkter i sin egen värdekedja, vilket stöder hållbarhetsmål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8568A4-5CE2-7FEE-7ED6-85B59E74BE7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9112" y="423689"/>
            <a:ext cx="6618288" cy="626701"/>
          </a:xfrm>
        </p:spPr>
        <p:txBody>
          <a:bodyPr rtlCol="0" anchor="ctr">
            <a:normAutofit/>
          </a:bodyPr>
          <a:lstStyle/>
          <a:p>
            <a:pPr rtl="0"/>
            <a:r>
              <a:rPr lang="sv" b="1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sv" b="1" baseline="30000"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sv" b="1">
                <a:latin typeface="Arial" panose="020B0604020202020204" pitchFamily="34" charset="0"/>
                <a:ea typeface="Calibri" panose="020F0502020204030204" pitchFamily="34" charset="0"/>
              </a:rPr>
              <a:t> 4965 Original Next Gen</a:t>
            </a:r>
            <a:r>
              <a:rPr lang="sv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2BCC5F2-3C8B-FFD5-9841-AB4F42FCBC6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9113" y="1122390"/>
            <a:ext cx="2961066" cy="565146"/>
          </a:xfrm>
        </p:spPr>
        <p:txBody>
          <a:bodyPr rtlCol="0"/>
          <a:lstStyle/>
          <a:p>
            <a:pPr rtl="0"/>
            <a:r>
              <a:rPr lang="sv" sz="3200"/>
              <a:t>Från källa till tejp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E424D4-8BD8-FC14-4F8B-1CE37E97C5C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 rtlCol="0"/>
          <a:lstStyle/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t>3</a:t>
            </a:fld>
            <a:r>
              <a:rPr lang="sv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30058172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7">
            <a:extLst>
              <a:ext uri="{FF2B5EF4-FFF2-40B4-BE49-F238E27FC236}">
                <a16:creationId xmlns:a16="http://schemas.microsoft.com/office/drawing/2014/main" id="{7F9AE16E-1A6D-6655-44E3-88B1A7213E3E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2"/>
          <a:stretch>
            <a:fillRect/>
          </a:stretch>
        </p:blipFill>
        <p:spPr>
          <a:xfrm>
            <a:off x="449964" y="-1"/>
            <a:ext cx="5275039" cy="6427433"/>
          </a:xfrm>
          <a:prstGeom prst="rect">
            <a:avLst/>
          </a:prstGeom>
          <a:solidFill>
            <a:schemeClr val="bg2"/>
          </a:solidFill>
          <a:effectLst/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8568A4-5CE2-7FEE-7ED6-85B59E74BE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rtlCol="0">
            <a:normAutofit/>
          </a:bodyPr>
          <a:lstStyle/>
          <a:p>
            <a:pPr rtl="0"/>
            <a:endParaRPr lang="en-US" sz="2400"/>
          </a:p>
          <a:p>
            <a:pPr rtl="0"/>
            <a:endParaRPr lang="en-US" sz="24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8FF094-2977-C506-4D95-E194FB654C9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85147" y="3003280"/>
            <a:ext cx="5264595" cy="2277547"/>
          </a:xfrm>
        </p:spPr>
        <p:txBody>
          <a:bodyPr rtlCol="0"/>
          <a:lstStyle/>
          <a:p>
            <a:pPr marL="285750" indent="-285750" rtl="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sv" sz="1800"/>
              <a:t>Samma produktspecifikation</a:t>
            </a:r>
          </a:p>
          <a:p>
            <a:pPr marL="285750" indent="-285750" rtl="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sv" sz="1800"/>
              <a:t>Samma prestanda som tesa</a:t>
            </a:r>
            <a:r>
              <a:rPr lang="sv" sz="1800" baseline="30000"/>
              <a:t>®</a:t>
            </a:r>
            <a:r>
              <a:rPr lang="sv" sz="1800"/>
              <a:t> 4965 Original </a:t>
            </a:r>
          </a:p>
          <a:p>
            <a:pPr marL="285750" indent="-285750" rtl="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sv" sz="1800"/>
              <a:t>Draghållfasthet i bäraren av 90 % PET som återvunnits efter konsumentledet motsvarande den ursprungliga PET-bäraren</a:t>
            </a:r>
          </a:p>
          <a:p>
            <a:pPr marL="285750" indent="-285750" rtl="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sv" sz="1800"/>
              <a:t>Lika stor procentuell töjning</a:t>
            </a:r>
          </a:p>
          <a:p>
            <a:pPr marL="285750" indent="-285750" rtl="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sv" sz="1800"/>
              <a:t>Samma vidhäftningsgr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59FF16-76CE-35DF-7733-2C8DDF1555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5147" y="1336672"/>
            <a:ext cx="5546297" cy="369332"/>
          </a:xfrm>
        </p:spPr>
        <p:txBody>
          <a:bodyPr rtlCol="0">
            <a:normAutofit fontScale="90000"/>
          </a:bodyPr>
          <a:lstStyle/>
          <a:p>
            <a:pPr rtl="0"/>
            <a:r>
              <a:rPr lang="sv" sz="3100" b="1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sv" sz="3100" b="1" baseline="30000"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sv" sz="3100" b="1">
                <a:latin typeface="Arial" panose="020B0604020202020204" pitchFamily="34" charset="0"/>
                <a:ea typeface="Calibri" panose="020F0502020204030204" pitchFamily="34" charset="0"/>
              </a:rPr>
              <a:t> 4965 Original Next Gen </a:t>
            </a:r>
            <a:br>
              <a:rPr lang="en-US" sz="3100" b="1">
                <a:latin typeface="Arial" panose="020B0604020202020204" pitchFamily="34" charset="0"/>
                <a:ea typeface="Calibri" panose="020F0502020204030204" pitchFamily="34" charset="0"/>
              </a:rPr>
            </a:br>
            <a:r>
              <a:rPr lang="sv" sz="3100" b="1">
                <a:latin typeface="Arial" panose="020B0604020202020204" pitchFamily="34" charset="0"/>
                <a:ea typeface="Calibri" panose="020F0502020204030204" pitchFamily="34" charset="0"/>
              </a:rPr>
              <a:t>jämfört med tesa</a:t>
            </a:r>
            <a:r>
              <a:rPr lang="sv" sz="3100" b="1" baseline="30000"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sv" sz="3100" b="1">
                <a:latin typeface="Arial" panose="020B0604020202020204" pitchFamily="34" charset="0"/>
                <a:ea typeface="Calibri" panose="020F0502020204030204" pitchFamily="34" charset="0"/>
              </a:rPr>
              <a:t> 4965 Original</a:t>
            </a:r>
            <a:r>
              <a:rPr lang="sv" sz="310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br>
              <a:rPr lang="en-US" sz="3200"/>
            </a:br>
            <a:br>
              <a:rPr lang="en-US" sz="100"/>
            </a:br>
            <a:r>
              <a:rPr lang="sv" sz="3000"/>
              <a:t>Samma tejp. Samma tillförlitliga prestanda.</a:t>
            </a:r>
            <a:endParaRPr lang="en-GB" sz="300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83262C8-A6AB-7B1B-25AE-165167463CC3}"/>
              </a:ext>
            </a:extLst>
          </p:cNvPr>
          <p:cNvSpPr txBox="1">
            <a:spLocks/>
          </p:cNvSpPr>
          <p:nvPr/>
        </p:nvSpPr>
        <p:spPr>
          <a:xfrm>
            <a:off x="398971" y="2141537"/>
            <a:ext cx="508320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US"/>
          </a:p>
        </p:txBody>
      </p:sp>
      <p:grpSp>
        <p:nvGrpSpPr>
          <p:cNvPr id="36" name="Gruppieren 52">
            <a:extLst>
              <a:ext uri="{FF2B5EF4-FFF2-40B4-BE49-F238E27FC236}">
                <a16:creationId xmlns:a16="http://schemas.microsoft.com/office/drawing/2014/main" id="{D3E6277B-3A0E-8235-4BEA-98A878079C5C}"/>
              </a:ext>
            </a:extLst>
          </p:cNvPr>
          <p:cNvGrpSpPr>
            <a:grpSpLocks/>
          </p:cNvGrpSpPr>
          <p:nvPr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37" name="Rectangle 1069">
              <a:extLst>
                <a:ext uri="{FF2B5EF4-FFF2-40B4-BE49-F238E27FC236}">
                  <a16:creationId xmlns:a16="http://schemas.microsoft.com/office/drawing/2014/main" id="{39A54B01-0DF5-E2D1-3477-BD4E187AD01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38" name="AutoShape 4">
              <a:extLst>
                <a:ext uri="{FF2B5EF4-FFF2-40B4-BE49-F238E27FC236}">
                  <a16:creationId xmlns:a16="http://schemas.microsoft.com/office/drawing/2014/main" id="{B907BA25-7C0B-4A4B-EB6C-2E8133D906F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id="{28C666BE-CD82-F744-AFA3-D90D697A0C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id="{D24D10A9-53F2-1DC4-D93E-DAAC6B23F4B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1" name="Freeform 8">
              <a:extLst>
                <a:ext uri="{FF2B5EF4-FFF2-40B4-BE49-F238E27FC236}">
                  <a16:creationId xmlns:a16="http://schemas.microsoft.com/office/drawing/2014/main" id="{62439D68-A14E-A79C-17EA-16953054B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id="{626C160E-59C1-B216-780A-40CD623D3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id="{A58248CF-C6F8-AB72-3BCC-4DD7D4A5AB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id="{8DE33EDB-6291-623F-A43A-2607327E6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BF8F16-97CC-4A9B-1582-E75420638AB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t>4</a:t>
            </a:fld>
            <a:r>
              <a:rPr lang="sv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25074469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03D6433-1300-8912-E8E9-A5F8825474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8362" y="1141595"/>
            <a:ext cx="6392862" cy="2354491"/>
          </a:xfrm>
        </p:spPr>
        <p:txBody>
          <a:bodyPr rtlCol="0"/>
          <a:lstStyle/>
          <a:p>
            <a:pPr rtl="0">
              <a:spcAft>
                <a:spcPts val="600"/>
              </a:spcAft>
            </a:pPr>
            <a:r>
              <a:rPr lang="sv" sz="3200" b="1" dirty="0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sv" sz="3200" b="1" baseline="30000" dirty="0">
                <a:latin typeface="+mn-lt"/>
                <a:ea typeface="Calibri" panose="020F0502020204030204" pitchFamily="34" charset="0"/>
              </a:rPr>
              <a:t>®</a:t>
            </a:r>
            <a:r>
              <a:rPr lang="sv" sz="3200" b="1" dirty="0">
                <a:latin typeface="Arial" panose="020B0604020202020204" pitchFamily="34" charset="0"/>
                <a:ea typeface="Calibri" panose="020F0502020204030204" pitchFamily="34" charset="0"/>
              </a:rPr>
              <a:t> 4965 Original Next Gen</a:t>
            </a:r>
            <a:r>
              <a:rPr lang="sv" sz="3200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br>
              <a:rPr lang="en-US" sz="3200" dirty="0"/>
            </a:br>
            <a:r>
              <a:rPr lang="sv" sz="2800" dirty="0"/>
              <a:t>100 % original. 40 %* mindre koldioxid. </a:t>
            </a:r>
            <a:br>
              <a:rPr lang="sv" sz="2800" dirty="0"/>
            </a:br>
            <a:r>
              <a:rPr lang="sv" sz="2800" dirty="0"/>
              <a:t>Det gör skillnad.</a:t>
            </a:r>
            <a:br>
              <a:rPr lang="en-US" sz="2800" dirty="0"/>
            </a:br>
            <a:endParaRPr lang="en-GB" sz="2800" dirty="0"/>
          </a:p>
          <a:p>
            <a:pPr rtl="0">
              <a:spcAft>
                <a:spcPts val="600"/>
              </a:spcAft>
            </a:pPr>
            <a:endParaRPr lang="en-GB" sz="3200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C0D0E6F-3354-000A-4292-F596796890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31424" y="2742583"/>
            <a:ext cx="5552272" cy="2677656"/>
          </a:xfrm>
        </p:spPr>
        <p:txBody>
          <a:bodyPr rtlCol="0"/>
          <a:lstStyle/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sv" sz="2200"/>
              <a:t>tesa</a:t>
            </a:r>
            <a:r>
              <a:rPr lang="sv" sz="2400" b="1" baseline="30000">
                <a:latin typeface="+mn-lt"/>
                <a:ea typeface="Calibri" panose="020F0502020204030204" pitchFamily="34" charset="0"/>
              </a:rPr>
              <a:t>®</a:t>
            </a:r>
            <a:r>
              <a:rPr lang="sv" sz="2200"/>
              <a:t> 4965 Original – en pålitlig tejp i fyra decennier</a:t>
            </a:r>
          </a:p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sv" sz="2200"/>
              <a:t>En tillförlitlig lösning för många branscher och tillämpningar</a:t>
            </a:r>
          </a:p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sv" sz="2200"/>
              <a:t>Nu tillgänglig som nästa generation – tesa</a:t>
            </a:r>
            <a:r>
              <a:rPr lang="sv" sz="2200" baseline="30000"/>
              <a:t>®</a:t>
            </a:r>
            <a:r>
              <a:rPr lang="sv" sz="2200"/>
              <a:t> 4965 Next Gen – med en 40 %* minskning av koldioxidutsläppe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0EBB1C-0E5D-AFC0-2B1E-4E9D0D203F01}"/>
              </a:ext>
            </a:extLst>
          </p:cNvPr>
          <p:cNvSpPr txBox="1"/>
          <p:nvPr/>
        </p:nvSpPr>
        <p:spPr>
          <a:xfrm>
            <a:off x="5668362" y="5683997"/>
            <a:ext cx="60216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>
              <a:spcAft>
                <a:spcPts val="800"/>
              </a:spcAft>
            </a:pPr>
            <a:r>
              <a:rPr lang="sv" sz="800" ker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*Minskat koldioxidavtryck (PCF) för nya tesa® 4965 Original Next Gen (50 m x 50 mm handrulle, PV0: röd MOPP-liner) jämfört med nuvarande tesa® 4965 Original (50 m x 50 mm handrulle, PV0: röd MOPP-liner) beräknat 2023 med Cradle-to-Gate-värden, däribland biogen koldioxidupptagning. Individuella PCF-värden för de andra linertyperna (PV1, PV2, PV4) och ytterligare information hittar du i vår jämförande PCF-beräkning enligt ISO 14067 på tesa.com/4965-report</a:t>
            </a:r>
            <a:endParaRPr lang="en-GB" sz="800" kern="10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Picture Placeholder 18" descr="A roll of red tape&#10;&#10;Description automatically generated">
            <a:extLst>
              <a:ext uri="{FF2B5EF4-FFF2-40B4-BE49-F238E27FC236}">
                <a16:creationId xmlns:a16="http://schemas.microsoft.com/office/drawing/2014/main" id="{AC1BFF33-83E0-75A5-268C-FA26E05F921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913" t="4144" r="8408" b="1092"/>
          <a:stretch/>
        </p:blipFill>
        <p:spPr>
          <a:xfrm>
            <a:off x="0" y="0"/>
            <a:ext cx="5283196" cy="634365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875E5D-B2A2-5F14-F916-CD67C3375FB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pPr/>
              <a:t>5</a:t>
            </a:fld>
            <a:r>
              <a:rPr lang="sv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0605170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AB5C368-7498-B471-137C-14B1324D925E}"/>
              </a:ext>
            </a:extLst>
          </p:cNvPr>
          <p:cNvSpPr txBox="1">
            <a:spLocks/>
          </p:cNvSpPr>
          <p:nvPr/>
        </p:nvSpPr>
        <p:spPr>
          <a:xfrm>
            <a:off x="499685" y="574785"/>
            <a:ext cx="5938185" cy="626701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108000" tIns="36000" rIns="108000" bIns="36000" rtlCol="0" anchor="ctr"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defRPr lang="en-US" sz="3600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180000" indent="-1778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40000" indent="-1778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346200" indent="-250825" algn="l" defTabSz="914400" rtl="0" eaLnBrk="1" latinLnBrk="0" hangingPunct="1">
              <a:spcBef>
                <a:spcPts val="5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614488" indent="-252413" algn="l" defTabSz="914400" rtl="0" eaLnBrk="1" latinLnBrk="0" hangingPunct="1">
              <a:spcBef>
                <a:spcPts val="5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sv" sz="3200" b="1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sv" sz="3200" b="1" baseline="30000"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sv" sz="3200" b="1">
                <a:latin typeface="Arial" panose="020B0604020202020204" pitchFamily="34" charset="0"/>
                <a:ea typeface="Calibri" panose="020F0502020204030204" pitchFamily="34" charset="0"/>
              </a:rPr>
              <a:t> 4965 Original Next Gen</a:t>
            </a:r>
            <a:r>
              <a:rPr lang="sv" sz="320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endParaRPr lang="en-GB" sz="3200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40398090-9783-8550-3E21-F7D5F305E0DF}"/>
              </a:ext>
            </a:extLst>
          </p:cNvPr>
          <p:cNvSpPr txBox="1">
            <a:spLocks/>
          </p:cNvSpPr>
          <p:nvPr/>
        </p:nvSpPr>
        <p:spPr>
          <a:xfrm>
            <a:off x="499686" y="1149919"/>
            <a:ext cx="4179130" cy="503590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108000" tIns="36000" rIns="108000" bIns="3600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defRPr lang="en-US" sz="3600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180000" indent="-1778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40000" indent="-1778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346200" indent="-250825" algn="l" defTabSz="914400" rtl="0" eaLnBrk="1" latinLnBrk="0" hangingPunct="1">
              <a:spcBef>
                <a:spcPts val="5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614488" indent="-252413" algn="l" defTabSz="914400" rtl="0" eaLnBrk="1" latinLnBrk="0" hangingPunct="1">
              <a:spcBef>
                <a:spcPts val="5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sv" sz="2800"/>
              <a:t>Samma mångsidiga användningsområden.</a:t>
            </a:r>
            <a:endParaRPr lang="en-GB" sz="280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57186CB-EB21-EAAD-ACFD-4B6F21227A43}"/>
              </a:ext>
            </a:extLst>
          </p:cNvPr>
          <p:cNvGrpSpPr/>
          <p:nvPr/>
        </p:nvGrpSpPr>
        <p:grpSpPr>
          <a:xfrm>
            <a:off x="-70588" y="1660657"/>
            <a:ext cx="11521786" cy="4733364"/>
            <a:chOff x="-70588" y="1759511"/>
            <a:chExt cx="11521786" cy="4733364"/>
          </a:xfrm>
        </p:grpSpPr>
        <p:sp>
          <p:nvSpPr>
            <p:cNvPr id="6" name="Content Placeholder 2">
              <a:extLst>
                <a:ext uri="{FF2B5EF4-FFF2-40B4-BE49-F238E27FC236}">
                  <a16:creationId xmlns:a16="http://schemas.microsoft.com/office/drawing/2014/main" id="{F83262C8-A6AB-7B1B-25AE-165167463CC3}"/>
                </a:ext>
              </a:extLst>
            </p:cNvPr>
            <p:cNvSpPr txBox="1">
              <a:spLocks/>
            </p:cNvSpPr>
            <p:nvPr/>
          </p:nvSpPr>
          <p:spPr>
            <a:xfrm>
              <a:off x="-70588" y="2141537"/>
              <a:ext cx="5083206" cy="4351338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C2F47ADF-2EDA-A8BC-231A-1517F89CC20E}"/>
                </a:ext>
              </a:extLst>
            </p:cNvPr>
            <p:cNvSpPr txBox="1"/>
            <p:nvPr/>
          </p:nvSpPr>
          <p:spPr>
            <a:xfrm>
              <a:off x="1594020" y="2486626"/>
              <a:ext cx="3342106" cy="1031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sv" sz="2200" b="1">
                  <a:solidFill>
                    <a:schemeClr val="bg1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Luftfart</a:t>
              </a:r>
              <a:endParaRPr lang="en-GB" sz="22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rtl="0">
                <a:spcAft>
                  <a:spcPts val="600"/>
                </a:spcAft>
              </a:pPr>
              <a:r>
                <a:rPr lang="sv" sz="1600">
                  <a:solidFill>
                    <a:schemeClr val="bg1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Ser till att LED-belysningen sitter säkert på golvet i kommersiella flygplan.</a:t>
              </a:r>
              <a:endParaRPr lang="en-GB" sz="16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" name="Graphic 1" descr="Aeroplane outline">
              <a:extLst>
                <a:ext uri="{FF2B5EF4-FFF2-40B4-BE49-F238E27FC236}">
                  <a16:creationId xmlns:a16="http://schemas.microsoft.com/office/drawing/2014/main" id="{9330E3C6-3DD2-864D-ABC1-38102534B8F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41381" y="2570373"/>
              <a:ext cx="709296" cy="709296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3482750-BED1-86E3-FB61-43B11167E2B4}"/>
                </a:ext>
              </a:extLst>
            </p:cNvPr>
            <p:cNvSpPr txBox="1"/>
            <p:nvPr/>
          </p:nvSpPr>
          <p:spPr>
            <a:xfrm>
              <a:off x="1618732" y="4277234"/>
              <a:ext cx="4263082" cy="100027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sv" sz="2200" b="1">
                  <a:solidFill>
                    <a:schemeClr val="bg1"/>
                  </a:solidFill>
                  <a:latin typeface="Arial"/>
                  <a:cs typeface="Arial"/>
                </a:rPr>
                <a:t>Butiker</a:t>
              </a:r>
              <a:endParaRPr lang="en-GB" sz="2200" b="1" dirty="0">
                <a:solidFill>
                  <a:schemeClr val="bg1"/>
                </a:solidFill>
                <a:latin typeface="Arial"/>
                <a:cs typeface="Arial"/>
              </a:endParaRPr>
            </a:p>
            <a:p>
              <a:pPr rtl="0">
                <a:spcAft>
                  <a:spcPts val="600"/>
                </a:spcAft>
              </a:pPr>
              <a:r>
                <a:rPr lang="sv" sz="1600">
                  <a:solidFill>
                    <a:schemeClr val="bg1"/>
                  </a:solidFill>
                  <a:latin typeface="Arial"/>
                  <a:cs typeface="Arial"/>
                </a:rPr>
                <a:t>Ser till att prisdisplayerna sitter säkert i </a:t>
              </a:r>
              <a:b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sv" sz="1600">
                  <a:solidFill>
                    <a:schemeClr val="bg1"/>
                  </a:solidFill>
                  <a:latin typeface="Arial"/>
                  <a:cs typeface="Arial"/>
                </a:rPr>
                <a:t>detaljhandelsmiljöer.</a:t>
              </a:r>
              <a:endParaRPr lang="en-GB" sz="16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3" name="Graphic 2" descr="Shopping basket outline">
              <a:extLst>
                <a:ext uri="{FF2B5EF4-FFF2-40B4-BE49-F238E27FC236}">
                  <a16:creationId xmlns:a16="http://schemas.microsoft.com/office/drawing/2014/main" id="{F5E42A15-A3C2-7358-FC1A-925A9E6B4F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87590" y="4176750"/>
              <a:ext cx="709296" cy="709296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140B596-2505-FA05-D965-02B20FA0143E}"/>
                </a:ext>
              </a:extLst>
            </p:cNvPr>
            <p:cNvSpPr txBox="1"/>
            <p:nvPr/>
          </p:nvSpPr>
          <p:spPr>
            <a:xfrm>
              <a:off x="7278127" y="1759511"/>
              <a:ext cx="3915116" cy="75405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sv" sz="2200" b="1">
                  <a:solidFill>
                    <a:schemeClr val="bg1"/>
                  </a:solidFill>
                  <a:latin typeface="Arial"/>
                  <a:cs typeface="Arial"/>
                </a:rPr>
                <a:t>Elektroniska apparater</a:t>
              </a:r>
              <a:endParaRPr lang="en-GB" sz="2200" b="1" dirty="0">
                <a:solidFill>
                  <a:schemeClr val="bg1"/>
                </a:solidFill>
                <a:latin typeface="Arial"/>
                <a:cs typeface="Arial"/>
              </a:endParaRPr>
            </a:p>
            <a:p>
              <a:pPr rtl="0">
                <a:spcAft>
                  <a:spcPts val="600"/>
                </a:spcAft>
              </a:pPr>
              <a:r>
                <a:rPr lang="sv" sz="1600">
                  <a:solidFill>
                    <a:schemeClr val="bg1"/>
                  </a:solidFill>
                  <a:latin typeface="Arial"/>
                  <a:cs typeface="Arial"/>
                </a:rPr>
                <a:t>Fäster små (och knepiga) komponenter.</a:t>
              </a:r>
              <a:endParaRPr lang="en-GB" sz="16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4" name="Graphic 3" descr="Smart Phone outline">
              <a:extLst>
                <a:ext uri="{FF2B5EF4-FFF2-40B4-BE49-F238E27FC236}">
                  <a16:creationId xmlns:a16="http://schemas.microsoft.com/office/drawing/2014/main" id="{205EDB55-B63C-72E4-3B0C-0038A5D5B61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484834" y="1828965"/>
              <a:ext cx="709296" cy="709296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DF996F6-3CB3-7D67-E119-C579664F49EF}"/>
                </a:ext>
              </a:extLst>
            </p:cNvPr>
            <p:cNvSpPr txBox="1"/>
            <p:nvPr/>
          </p:nvSpPr>
          <p:spPr>
            <a:xfrm>
              <a:off x="7278127" y="3207280"/>
              <a:ext cx="3398107" cy="75405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sv" sz="2200" b="1">
                  <a:solidFill>
                    <a:schemeClr val="bg1"/>
                  </a:solidFill>
                  <a:latin typeface="Arial"/>
                  <a:cs typeface="Arial"/>
                </a:rPr>
                <a:t>Logistik</a:t>
              </a:r>
              <a:endParaRPr lang="en-GB" sz="2200" b="1" dirty="0">
                <a:solidFill>
                  <a:schemeClr val="bg1"/>
                </a:solidFill>
                <a:latin typeface="Arial"/>
                <a:cs typeface="Arial"/>
              </a:endParaRPr>
            </a:p>
            <a:p>
              <a:pPr rtl="0">
                <a:spcAft>
                  <a:spcPts val="600"/>
                </a:spcAft>
              </a:pPr>
              <a:r>
                <a:rPr lang="sv" sz="1600">
                  <a:solidFill>
                    <a:schemeClr val="bg1"/>
                  </a:solidFill>
                  <a:latin typeface="Arial"/>
                  <a:cs typeface="Arial"/>
                </a:rPr>
                <a:t>Förslutning av förpackningar.</a:t>
              </a:r>
              <a:endParaRPr lang="en-GB" sz="16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5" name="Graphic 4" descr="Box outline">
              <a:extLst>
                <a:ext uri="{FF2B5EF4-FFF2-40B4-BE49-F238E27FC236}">
                  <a16:creationId xmlns:a16="http://schemas.microsoft.com/office/drawing/2014/main" id="{A6A752D8-8FC2-B6F5-8826-E6CE83539F7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6503197" y="3249995"/>
              <a:ext cx="709296" cy="709296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8DD04C9A-E4C4-9C3C-CC8B-42D43D188DD3}"/>
                </a:ext>
              </a:extLst>
            </p:cNvPr>
            <p:cNvSpPr txBox="1"/>
            <p:nvPr/>
          </p:nvSpPr>
          <p:spPr>
            <a:xfrm>
              <a:off x="7278127" y="4620253"/>
              <a:ext cx="4173071" cy="1338828"/>
            </a:xfrm>
            <a:prstGeom prst="rect">
              <a:avLst/>
            </a:prstGeom>
            <a:noFill/>
            <a:ln w="41672" cap="flat">
              <a:noFill/>
              <a:prstDash val="solid"/>
              <a:miter/>
            </a:ln>
          </p:spPr>
          <p:txBody>
            <a:bodyPr wrap="square" lIns="91440" tIns="45720" rIns="91440" bIns="45720" rtlCol="0" anchor="t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sv" sz="2200" b="1">
                  <a:solidFill>
                    <a:schemeClr val="bg1"/>
                  </a:solidFill>
                  <a:latin typeface="Arial"/>
                  <a:cs typeface="Arial"/>
                </a:rPr>
                <a:t>Byggnads- och möbelkomponenter</a:t>
              </a:r>
              <a:endParaRPr lang="en-GB" sz="2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rtl="0">
                <a:spcAft>
                  <a:spcPts val="600"/>
                </a:spcAft>
              </a:pPr>
              <a:r>
                <a:rPr lang="sv" sz="1600">
                  <a:solidFill>
                    <a:schemeClr val="bg1"/>
                  </a:solidFill>
                  <a:latin typeface="Arial"/>
                  <a:cs typeface="Arial"/>
                </a:rPr>
                <a:t>Maximal vidhäftningssäkerhet för </a:t>
              </a:r>
              <a:b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sv" sz="1600" spc="-20">
                  <a:solidFill>
                    <a:schemeClr val="bg1"/>
                  </a:solidFill>
                  <a:latin typeface="Arial"/>
                  <a:cs typeface="Arial"/>
                </a:rPr>
                <a:t>möbeldelar och inredning</a:t>
              </a:r>
              <a:r>
                <a:rPr lang="sv" sz="1600">
                  <a:solidFill>
                    <a:schemeClr val="bg1"/>
                  </a:solidFill>
                  <a:latin typeface="Arial"/>
                  <a:cs typeface="Arial"/>
                </a:rPr>
                <a:t>.</a:t>
              </a:r>
              <a:endParaRPr lang="en-GB" sz="16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7" name="Graphic 6" descr="Hammer outline">
              <a:extLst>
                <a:ext uri="{FF2B5EF4-FFF2-40B4-BE49-F238E27FC236}">
                  <a16:creationId xmlns:a16="http://schemas.microsoft.com/office/drawing/2014/main" id="{FDDA1509-C7CA-9C9F-2A03-EB2EA2F8CF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462577" y="4638887"/>
              <a:ext cx="649809" cy="649809"/>
            </a:xfrm>
            <a:prstGeom prst="rect">
              <a:avLst/>
            </a:prstGeom>
          </p:spPr>
        </p:pic>
      </p:grp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A1052C1-97A9-4F49-27FB-50EE3E92F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t>6</a:t>
            </a:fld>
            <a:r>
              <a:rPr lang="sv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1565360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03D6433-1300-8912-E8E9-A5F8825474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8362" y="1141595"/>
            <a:ext cx="6392862" cy="1800493"/>
          </a:xfrm>
        </p:spPr>
        <p:txBody>
          <a:bodyPr rtlCol="0"/>
          <a:lstStyle/>
          <a:p>
            <a:pPr rtl="0">
              <a:spcAft>
                <a:spcPts val="600"/>
              </a:spcAft>
            </a:pPr>
            <a:r>
              <a:rPr lang="sv" sz="3200" b="1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sv" sz="3200" b="1" baseline="3000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sv" sz="3200" b="1">
                <a:latin typeface="Arial" panose="020B0604020202020204" pitchFamily="34" charset="0"/>
                <a:ea typeface="Calibri" panose="020F0502020204030204" pitchFamily="34" charset="0"/>
              </a:rPr>
              <a:t> 4965 Original Next Gen</a:t>
            </a:r>
            <a:r>
              <a:rPr lang="sv" sz="320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br>
              <a:rPr lang="en-US" sz="3200"/>
            </a:br>
            <a:r>
              <a:rPr lang="sv" sz="2000"/>
              <a:t>Samma tillförlitliga prestanda. 40 %* mindre koldioxid Det gör skillnad.</a:t>
            </a:r>
            <a:br>
              <a:rPr lang="en-US" sz="2800"/>
            </a:br>
            <a:endParaRPr lang="en-GB" sz="2800"/>
          </a:p>
          <a:p>
            <a:pPr rtl="0">
              <a:spcAft>
                <a:spcPts val="600"/>
              </a:spcAft>
            </a:pPr>
            <a:endParaRPr lang="en-GB" sz="320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C0D0E6F-3354-000A-4292-F596796890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31424" y="2614567"/>
            <a:ext cx="5854480" cy="2923877"/>
          </a:xfrm>
        </p:spPr>
        <p:txBody>
          <a:bodyPr vert="horz" wrap="square" lIns="0" tIns="0" rIns="0" bIns="0" rtlCol="0" anchor="t">
            <a:spAutoFit/>
          </a:bodyPr>
          <a:lstStyle/>
          <a:p>
            <a:pPr rtl="0"/>
            <a:r>
              <a:rPr lang="sv" sz="1800">
                <a:cs typeface="Arial"/>
              </a:rPr>
              <a:t>Liknande egenskaper och vidhäftningsvärden ger den nya tesa® 4965 Original Next Gen-tejpen samma prestandafördel jämfört med andra självhäftande produkter och lösningar som </a:t>
            </a:r>
            <a:endParaRPr lang="en-US" sz="1800"/>
          </a:p>
          <a:p>
            <a:pPr rtl="0"/>
            <a:r>
              <a:rPr lang="sv" sz="1800">
                <a:cs typeface="Arial"/>
              </a:rPr>
              <a:t>tesa</a:t>
            </a:r>
            <a:r>
              <a:rPr lang="sv" sz="1800" b="1" baseline="30000">
                <a:solidFill>
                  <a:srgbClr val="000000"/>
                </a:solidFill>
                <a:latin typeface="Arial"/>
                <a:ea typeface="Calibri"/>
                <a:cs typeface="Arial"/>
              </a:rPr>
              <a:t>®</a:t>
            </a:r>
            <a:r>
              <a:rPr lang="sv" sz="1800" b="1">
                <a:latin typeface="Arial"/>
                <a:ea typeface="Calibri"/>
                <a:cs typeface="Arial"/>
              </a:rPr>
              <a:t> </a:t>
            </a:r>
            <a:r>
              <a:rPr lang="sv" sz="1800">
                <a:cs typeface="Arial"/>
              </a:rPr>
              <a:t>4965 Original. </a:t>
            </a:r>
            <a:endParaRPr lang="en-US" sz="1800"/>
          </a:p>
          <a:p>
            <a:pPr rtl="0"/>
            <a:r>
              <a:rPr lang="sv" sz="1800">
                <a:cs typeface="Arial"/>
              </a:rPr>
              <a:t>I kombination med vår mångåriga branschkunskap och vårt fokus på hållbarhet är vi på väg mot ett mer hållbart produktsortiment. Det gör skillnad helt enkelt.</a:t>
            </a:r>
          </a:p>
          <a:p>
            <a:pPr rtl="0"/>
            <a:endParaRPr lang="en-US" sz="400"/>
          </a:p>
          <a:p>
            <a:pPr rtl="0"/>
            <a:r>
              <a:rPr lang="sv" sz="2000" b="1">
                <a:solidFill>
                  <a:schemeClr val="bg1"/>
                </a:solidFill>
                <a:highlight>
                  <a:srgbClr val="009FDF"/>
                </a:highlight>
                <a:cs typeface="Arial"/>
              </a:rPr>
              <a:t>Besök tesa</a:t>
            </a:r>
            <a:r>
              <a:rPr lang="sv" sz="2000" b="1" baseline="30000">
                <a:solidFill>
                  <a:srgbClr val="FFFFFF"/>
                </a:solidFill>
                <a:highlight>
                  <a:srgbClr val="009FDF"/>
                </a:highlight>
                <a:latin typeface="Arial"/>
                <a:ea typeface="Calibri"/>
                <a:cs typeface="Arial"/>
              </a:rPr>
              <a:t>® </a:t>
            </a:r>
            <a:r>
              <a:rPr lang="sv" sz="2000" b="1">
                <a:solidFill>
                  <a:schemeClr val="bg1"/>
                </a:solidFill>
                <a:highlight>
                  <a:srgbClr val="009FDF"/>
                </a:highlight>
                <a:cs typeface="Arial"/>
              </a:rPr>
              <a:t>4965 Original Next Gen-sidan för mer information.</a:t>
            </a:r>
            <a:endParaRPr lang="en-GB" sz="2000" b="1" dirty="0">
              <a:solidFill>
                <a:schemeClr val="bg1"/>
              </a:solidFill>
              <a:highlight>
                <a:srgbClr val="009FDF"/>
              </a:highlight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0EBB1C-0E5D-AFC0-2B1E-4E9D0D203F01}"/>
              </a:ext>
            </a:extLst>
          </p:cNvPr>
          <p:cNvSpPr txBox="1"/>
          <p:nvPr/>
        </p:nvSpPr>
        <p:spPr>
          <a:xfrm>
            <a:off x="5668362" y="5757149"/>
            <a:ext cx="6021614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rtl="0">
              <a:spcAft>
                <a:spcPts val="800"/>
              </a:spcAft>
            </a:pPr>
            <a:r>
              <a:rPr lang="sv" sz="800" kern="0">
                <a:latin typeface="Arial"/>
                <a:ea typeface="Calibri"/>
                <a:cs typeface="Times New Roman"/>
              </a:rPr>
              <a:t>*Minskat koldioxidavtryck (PCF) för nya tesa® 4965 Original Next Gen (50 m x 50 mm handrulle, PV0: röd MOPP-liner) jämfört med nuvarande tesa® 4965 Original (50 m x 50 mm handrulle, PV0: röd MOPP-liner) beräknat 2023 med Cradle-to-Gate-värden, däribland biogen koldioxidupptagning. Individuella PCF-värden för de andra linertyperna (PV1, PV2, PV4) och ytterligare information hittar du i vår jämförande PCF-beräkning enligt ISO 14067 på </a:t>
            </a:r>
            <a:r>
              <a:rPr lang="sv" sz="800" kern="0">
                <a:latin typeface="Arial"/>
                <a:ea typeface="Calibri"/>
                <a:cs typeface="Times New Roman"/>
                <a:hlinkClick r:id="rId2"/>
              </a:rPr>
              <a:t>tesa.com/4965-report</a:t>
            </a:r>
            <a:r>
              <a:rPr lang="sv" sz="800" kern="0">
                <a:latin typeface="Arial"/>
                <a:ea typeface="Calibri"/>
                <a:cs typeface="Times New Roman"/>
              </a:rPr>
              <a:t>.</a:t>
            </a:r>
            <a:endParaRPr lang="en-GB" sz="800" kern="100" dirty="0">
              <a:latin typeface="Arial"/>
              <a:ea typeface="Calibri"/>
              <a:cs typeface="Times New Roman"/>
            </a:endParaRPr>
          </a:p>
        </p:txBody>
      </p:sp>
      <p:pic>
        <p:nvPicPr>
          <p:cNvPr id="4" name="Picture Placeholder 3" descr="A person in a lab coat holding a dropper&#10;&#10;Description automatically generated">
            <a:extLst>
              <a:ext uri="{FF2B5EF4-FFF2-40B4-BE49-F238E27FC236}">
                <a16:creationId xmlns:a16="http://schemas.microsoft.com/office/drawing/2014/main" id="{1C22ED7D-08CA-0359-E6EF-D3BD442BB7C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30" t="3655" r="18612"/>
          <a:stretch/>
        </p:blipFill>
        <p:spPr>
          <a:xfrm flipH="1">
            <a:off x="0" y="0"/>
            <a:ext cx="5283196" cy="634365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507D9CE-4FB2-DFAB-925A-9BB390BDEE6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sv"/>
              <a:t>- </a:t>
            </a:r>
            <a:fld id="{94A6D44E-0BF8-4A10-A708-3AB32E33FA71}" type="slidenum">
              <a:rPr lang="en-US" smtClean="0"/>
              <a:pPr/>
              <a:t>7</a:t>
            </a:fld>
            <a:r>
              <a:rPr lang="sv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3290957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3364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  <p:tag name="ARTICULATE_SLIDE_COUNT" val="6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tesa_16x9">
  <a:themeElements>
    <a:clrScheme name="Benutzerdefiniert 3">
      <a:dk1>
        <a:srgbClr val="373737"/>
      </a:dk1>
      <a:lt1>
        <a:sysClr val="window" lastClr="FFFFFF"/>
      </a:lt1>
      <a:dk2>
        <a:srgbClr val="373737"/>
      </a:dk2>
      <a:lt2>
        <a:srgbClr val="DADADA"/>
      </a:lt2>
      <a:accent1>
        <a:srgbClr val="0F377F"/>
      </a:accent1>
      <a:accent2>
        <a:srgbClr val="B2CDE6"/>
      </a:accent2>
      <a:accent3>
        <a:srgbClr val="87B4D8"/>
      </a:accent3>
      <a:accent4>
        <a:srgbClr val="DFF2FD"/>
      </a:accent4>
      <a:accent5>
        <a:srgbClr val="009FDF"/>
      </a:accent5>
      <a:accent6>
        <a:srgbClr val="E3000F"/>
      </a:accent6>
      <a:hlink>
        <a:srgbClr val="009FDF"/>
      </a:hlink>
      <a:folHlink>
        <a:srgbClr val="E3000F"/>
      </a:folHlink>
    </a:clrScheme>
    <a:fontScheme name="tesa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t"/>
      <a:lstStyle>
        <a:defPPr>
          <a:defRPr dirty="0" err="1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custClrLst>
    <a:custClr name="tesa Blue">
      <a:srgbClr val="009FDF"/>
    </a:custClr>
    <a:custClr name="tesa Red">
      <a:srgbClr val="E3000F"/>
    </a:custClr>
    <a:custClr name="tesa Dark Blue">
      <a:srgbClr val="01377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Additional Gray 1">
      <a:srgbClr val="5E5E5E"/>
    </a:custClr>
    <a:custClr name="Additional Gray 2">
      <a:srgbClr val="8F8F8F"/>
    </a:custClr>
    <a:custClr name="Additional Gray 3">
      <a:srgbClr val="B8B8B8"/>
    </a:custClr>
    <a:custClr name="Additional Gray 4">
      <a:srgbClr val="DADAD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Additional Blue 1">
      <a:srgbClr val="42647B"/>
    </a:custClr>
    <a:custClr name="Additional Blue 2">
      <a:srgbClr val="87B4D8"/>
    </a:custClr>
    <a:custClr name="Additional Blue 3">
      <a:srgbClr val="B2CDE6"/>
    </a:custClr>
    <a:custClr name="Additional Blue 4">
      <a:srgbClr val="DFF2F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rk Red">
      <a:srgbClr val="96000A"/>
    </a:custClr>
    <a:custClr name="Green">
      <a:srgbClr val="64A33C"/>
    </a:custClr>
    <a:custClr name="Yellow">
      <a:srgbClr val="FFD73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tesa_Master_2023.pptx" id="{040CBB0B-E091-4C89-AA15-5DA859F6ADE1}" vid="{A064882C-0D85-4411-9C12-B28E4920CED3}"/>
    </a:ext>
  </a:extLst>
</a:theme>
</file>

<file path=ppt/theme/theme2.xml><?xml version="1.0" encoding="utf-8"?>
<a:theme xmlns:a="http://schemas.openxmlformats.org/drawingml/2006/main" name="Larissa">
  <a:themeElements>
    <a:clrScheme name="tesa">
      <a:dk1>
        <a:srgbClr val="373737"/>
      </a:dk1>
      <a:lt1>
        <a:sysClr val="window" lastClr="FFFFFF"/>
      </a:lt1>
      <a:dk2>
        <a:srgbClr val="373737"/>
      </a:dk2>
      <a:lt2>
        <a:srgbClr val="DADADA"/>
      </a:lt2>
      <a:accent1>
        <a:srgbClr val="0F377F"/>
      </a:accent1>
      <a:accent2>
        <a:srgbClr val="B2CDE6"/>
      </a:accent2>
      <a:accent3>
        <a:srgbClr val="87B4D8"/>
      </a:accent3>
      <a:accent4>
        <a:srgbClr val="DFF2FD"/>
      </a:accent4>
      <a:accent5>
        <a:srgbClr val="009FDF"/>
      </a:accent5>
      <a:accent6>
        <a:srgbClr val="E3000F"/>
      </a:accent6>
      <a:hlink>
        <a:srgbClr val="009FDF"/>
      </a:hlink>
      <a:folHlink>
        <a:srgbClr val="E3000F"/>
      </a:folHlink>
    </a:clrScheme>
    <a:fontScheme name="tesa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tesa">
      <a:dk1>
        <a:srgbClr val="373737"/>
      </a:dk1>
      <a:lt1>
        <a:sysClr val="window" lastClr="FFFFFF"/>
      </a:lt1>
      <a:dk2>
        <a:srgbClr val="373737"/>
      </a:dk2>
      <a:lt2>
        <a:srgbClr val="DADADA"/>
      </a:lt2>
      <a:accent1>
        <a:srgbClr val="0F377F"/>
      </a:accent1>
      <a:accent2>
        <a:srgbClr val="B2CDE6"/>
      </a:accent2>
      <a:accent3>
        <a:srgbClr val="87B4D8"/>
      </a:accent3>
      <a:accent4>
        <a:srgbClr val="DFF2FD"/>
      </a:accent4>
      <a:accent5>
        <a:srgbClr val="009FDF"/>
      </a:accent5>
      <a:accent6>
        <a:srgbClr val="E3000F"/>
      </a:accent6>
      <a:hlink>
        <a:srgbClr val="009FDF"/>
      </a:hlink>
      <a:folHlink>
        <a:srgbClr val="E3000F"/>
      </a:folHlink>
    </a:clrScheme>
    <a:fontScheme name="tesa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6759819-f911-4466-a17f-d69c8d4ce877" xsi:nil="true"/>
    <lcf76f155ced4ddcb4097134ff3c332f xmlns="abf64726-9574-4459-b685-4e6164e9b89e">
      <Terms xmlns="http://schemas.microsoft.com/office/infopath/2007/PartnerControls"/>
    </lcf76f155ced4ddcb4097134ff3c332f>
    <Year xmlns="abf64726-9574-4459-b685-4e6164e9b89e" xsi:nil="true"/>
    <Document_x0020_typee xmlns="abf64726-9574-4459-b685-4e6164e9b89e" xsi:nil="true"/>
    <Tag xmlns="abf64726-9574-4459-b685-4e6164e9b89e" xsi:nil="true"/>
    <Thumbnail xmlns="abf64726-9574-4459-b685-4e6164e9b89e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571072ACD4BCC4CA0F8FFE331255C60" ma:contentTypeVersion="27" ma:contentTypeDescription="Create a new document." ma:contentTypeScope="" ma:versionID="35c63e0a0be9f381e625f9cd7b750aad">
  <xsd:schema xmlns:xsd="http://www.w3.org/2001/XMLSchema" xmlns:xs="http://www.w3.org/2001/XMLSchema" xmlns:p="http://schemas.microsoft.com/office/2006/metadata/properties" xmlns:ns2="e6759819-f911-4466-a17f-d69c8d4ce877" xmlns:ns3="abf64726-9574-4459-b685-4e6164e9b89e" targetNamespace="http://schemas.microsoft.com/office/2006/metadata/properties" ma:root="true" ma:fieldsID="82faa0828a6d309498b1cff7d0c97f9e" ns2:_="" ns3:_="">
    <xsd:import namespace="e6759819-f911-4466-a17f-d69c8d4ce877"/>
    <xsd:import namespace="abf64726-9574-4459-b685-4e6164e9b89e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OCR" minOccurs="0"/>
                <xsd:element ref="ns3:Document_x0020_typee" minOccurs="0"/>
                <xsd:element ref="ns3:Tag" minOccurs="0"/>
                <xsd:element ref="ns2:SharedWithUsers" minOccurs="0"/>
                <xsd:element ref="ns2:SharedWithDetails" minOccurs="0"/>
                <xsd:element ref="ns3:MediaLengthInSeconds" minOccurs="0"/>
                <xsd:element ref="ns3:Thumbnail" minOccurs="0"/>
                <xsd:element ref="ns3:Year" minOccurs="0"/>
                <xsd:element ref="ns3:lcf76f155ced4ddcb4097134ff3c332f" minOccurs="0"/>
                <xsd:element ref="ns3:MediaServiceLocation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759819-f911-4466-a17f-d69c8d4ce877" elementFormDefault="qualified">
    <xsd:import namespace="http://schemas.microsoft.com/office/2006/documentManagement/types"/>
    <xsd:import namespace="http://schemas.microsoft.com/office/infopath/2007/PartnerControls"/>
    <xsd:element name="TaxCatchAll" ma:index="4" nillable="true" ma:displayName="Taxonomy Catch All Column" ma:hidden="true" ma:list="{59352219-6375-4bb3-ad35-de287b977f5c}" ma:internalName="TaxCatchAll" ma:showField="CatchAllData" ma:web="e6759819-f911-4466-a17f-d69c8d4ce87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f64726-9574-4459-b685-4e6164e9b8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5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6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8" nillable="true" ma:displayName="Tags 1" ma:description="" ma:internalName="MediaServiceAutoTags" ma:readOnly="true">
      <xsd:simpleType>
        <xsd:restriction base="dms:Text"/>
      </xsd:simpleType>
    </xsd:element>
    <xsd:element name="MediaServiceGenerationTime" ma:index="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Document_x0020_typee" ma:index="18" nillable="true" ma:displayName="Document type" ma:format="Dropdown" ma:internalName="Document_x0020_type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Guideline"/>
                    <xsd:enumeration value="Overview"/>
                    <xsd:enumeration value="Planning"/>
                    <xsd:enumeration value="Template"/>
                    <xsd:enumeration value="Best Practice"/>
                    <xsd:enumeration value="Marketing Material"/>
                    <xsd:enumeration value="Customer presentation"/>
                    <xsd:enumeration value="Launch/Market Package"/>
                    <xsd:enumeration value="Certificate/Technical Data"/>
                    <xsd:enumeration value="Training material"/>
                    <xsd:enumeration value="Working file"/>
                    <xsd:enumeration value="Web/Teams link"/>
                    <xsd:enumeration value="Other"/>
                    <xsd:enumeration value="Folder"/>
                    <xsd:enumeration value="Offer"/>
                    <xsd:enumeration value="Appliances"/>
                    <xsd:enumeration value="Auswahl 17"/>
                  </xsd:restriction>
                </xsd:simpleType>
              </xsd:element>
            </xsd:sequence>
          </xsd:extension>
        </xsd:complexContent>
      </xsd:complexType>
    </xsd:element>
    <xsd:element name="Tag" ma:index="19" nillable="true" ma:displayName="Tags" ma:format="Dropdown" ma:internalName="Tag">
      <xsd:complexType>
        <xsd:complexContent>
          <xsd:extension base="dms:MultiChoiceFillIn">
            <xsd:sequence>
              <xsd:element name="Value" maxOccurs="unbounded" minOccurs="0" nillable="true">
                <xsd:simpleType>
                  <xsd:union memberTypes="dms:Text">
                    <xsd:simpleType>
                      <xsd:restriction base="dms:Choice">
                        <xsd:enumeration value="Converters"/>
                        <xsd:enumeration value="Sustainability"/>
                        <xsd:enumeration value="BSR"/>
                        <xsd:enumeration value="FR"/>
                        <xsd:enumeration value="ECT"/>
                        <xsd:enumeration value="TCT"/>
                        <xsd:enumeration value="HAF"/>
                        <xsd:enumeration value="ID"/>
                        <xsd:enumeration value="Automotive"/>
                        <xsd:enumeration value="Health"/>
                        <xsd:enumeration value="Electronics"/>
                      </xsd:restriction>
                    </xsd:simpleType>
                  </xsd:union>
                </xsd:simpleType>
              </xsd:element>
            </xsd:sequence>
          </xsd:extension>
        </xsd:complexContent>
      </xsd:complex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Thumbnail" ma:index="23" nillable="true" ma:displayName="Thumbnail" ma:format="Thumbnail" ma:internalName="Thumbnail">
      <xsd:simpleType>
        <xsd:restriction base="dms:Unknown"/>
      </xsd:simpleType>
    </xsd:element>
    <xsd:element name="Year" ma:index="24" nillable="true" ma:displayName="Year" ma:format="Dropdown" ma:internalName="Year">
      <xsd:simpleType>
        <xsd:restriction base="dms:Choice">
          <xsd:enumeration value="2023"/>
          <xsd:enumeration value="2022"/>
          <xsd:enumeration value="2021"/>
          <xsd:enumeration value="2020"/>
          <xsd:enumeration value="2019"/>
          <xsd:enumeration value="2018"/>
          <xsd:enumeration value="2017"/>
          <xsd:enumeration value="2016"/>
          <xsd:enumeration value="2015"/>
        </xsd:restriction>
      </xsd:simpleType>
    </xsd:element>
    <xsd:element name="lcf76f155ced4ddcb4097134ff3c332f" ma:index="26" nillable="true" ma:taxonomy="true" ma:internalName="lcf76f155ced4ddcb4097134ff3c332f" ma:taxonomyFieldName="MediaServiceImageTags" ma:displayName="Image Tags" ma:readOnly="false" ma:fieldId="{5cf76f15-5ced-4ddc-b409-7134ff3c332f}" ma:taxonomyMulti="true" ma:sspId="3d4df0dc-44d8-47fe-b539-696e2d2c1eb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7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4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E1F4E36-B93E-4AEF-95B8-8D9327554D59}">
  <ds:schemaRefs>
    <ds:schemaRef ds:uri="7210d724-798f-4f14-8efa-6190626d83d5"/>
    <ds:schemaRef ds:uri="d8bd49df-18a9-4de1-8c5b-2ba9944d820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e6759819-f911-4466-a17f-d69c8d4ce877"/>
    <ds:schemaRef ds:uri="abf64726-9574-4459-b685-4e6164e9b89e"/>
  </ds:schemaRefs>
</ds:datastoreItem>
</file>

<file path=customXml/itemProps2.xml><?xml version="1.0" encoding="utf-8"?>
<ds:datastoreItem xmlns:ds="http://schemas.openxmlformats.org/officeDocument/2006/customXml" ds:itemID="{E6116AE0-C905-4228-B417-C0E61813E51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6759819-f911-4466-a17f-d69c8d4ce877"/>
    <ds:schemaRef ds:uri="abf64726-9574-4459-b685-4e6164e9b89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7E58A6D-8A70-4E41-8234-DBF2BC9404D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</TotalTime>
  <Words>680</Words>
  <Application>Microsoft Macintosh PowerPoint</Application>
  <PresentationFormat>Brugerdefineret</PresentationFormat>
  <Paragraphs>53</Paragraphs>
  <Slides>8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5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8</vt:i4>
      </vt:variant>
    </vt:vector>
  </HeadingPairs>
  <TitlesOfParts>
    <vt:vector size="15" baseType="lpstr">
      <vt:lpstr>Arial</vt:lpstr>
      <vt:lpstr>Arial Narrow</vt:lpstr>
      <vt:lpstr>Calibri</vt:lpstr>
      <vt:lpstr>Times New Roman</vt:lpstr>
      <vt:lpstr>Wingdings</vt:lpstr>
      <vt:lpstr>Template_tesa_16x9</vt:lpstr>
      <vt:lpstr>think-cell Folie</vt:lpstr>
      <vt:lpstr>PowerPoint-præsentation</vt:lpstr>
      <vt:lpstr>PowerPoint-præsentation</vt:lpstr>
      <vt:lpstr>PowerPoint-præsentation</vt:lpstr>
      <vt:lpstr>tesa® 4965 Original Next Gen  jämfört med tesa® 4965 Original   Samma tejp. Samma tillförlitliga prestanda.</vt:lpstr>
      <vt:lpstr>PowerPoint-præsentation</vt:lpstr>
      <vt:lpstr>PowerPoint-præsentation</vt:lpstr>
      <vt:lpstr>PowerPoint-præsentation</vt:lpstr>
      <vt:lpstr>PowerPoint-præsentation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ahne, Wiebke /tesa SE HAM</dc:creator>
  <cp:lastModifiedBy>Microsoft Office User</cp:lastModifiedBy>
  <cp:revision>32</cp:revision>
  <dcterms:created xsi:type="dcterms:W3CDTF">2023-05-03T09:17:24Z</dcterms:created>
  <dcterms:modified xsi:type="dcterms:W3CDTF">2024-02-06T13:39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571072ACD4BCC4CA0F8FFE331255C60</vt:lpwstr>
  </property>
  <property fmtid="{D5CDD505-2E9C-101B-9397-08002B2CF9AE}" pid="3" name="MediaServiceImageTags">
    <vt:lpwstr/>
  </property>
</Properties>
</file>